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4"/>
  </p:sldMasterIdLst>
  <p:notesMasterIdLst>
    <p:notesMasterId r:id="rId6"/>
  </p:notesMasterIdLst>
  <p:handoutMasterIdLst>
    <p:handoutMasterId r:id="rId7"/>
  </p:handoutMasterIdLst>
  <p:sldIdLst>
    <p:sldId id="258" r:id="rId5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797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yne-Pietschmann, Julius (A-GKST)" initials="HJ(" lastIdx="1" clrIdx="0">
    <p:extLst>
      <p:ext uri="{19B8F6BF-5375-455C-9EA6-DF929625EA0E}">
        <p15:presenceInfo xmlns:p15="http://schemas.microsoft.com/office/powerpoint/2012/main" userId="S-1-5-21-8915387-466359577-720635935-2286920" providerId="AD"/>
      </p:ext>
    </p:extLst>
  </p:cmAuthor>
  <p:cmAuthor id="2" name="tom b" initials="tb" lastIdx="1" clrIdx="1">
    <p:extLst>
      <p:ext uri="{19B8F6BF-5375-455C-9EA6-DF929625EA0E}">
        <p15:presenceInfo xmlns:p15="http://schemas.microsoft.com/office/powerpoint/2012/main" userId="139939e78525250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6063"/>
    <a:srgbClr val="D1D5D6"/>
    <a:srgbClr val="E6EFF4"/>
    <a:srgbClr val="F1F7F9"/>
    <a:srgbClr val="004666"/>
    <a:srgbClr val="CCDFE9"/>
    <a:srgbClr val="FFFFFF"/>
    <a:srgbClr val="F2F6F7"/>
    <a:srgbClr val="EDECE7"/>
    <a:srgbClr val="C6D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672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294" y="390"/>
      </p:cViewPr>
      <p:guideLst>
        <p:guide pos="2797"/>
        <p:guide orient="horz" pos="2160"/>
      </p:guideLst>
    </p:cSldViewPr>
  </p:slideViewPr>
  <p:outlineViewPr>
    <p:cViewPr>
      <p:scale>
        <a:sx n="33" d="100"/>
        <a:sy n="33" d="100"/>
      </p:scale>
      <p:origin x="0" y="-885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3" d="100"/>
          <a:sy n="63" d="100"/>
        </p:scale>
        <p:origin x="3134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53E27E8-929A-4AC7-9CA6-830AFFC3DD5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1B5957-B673-4EEE-97B7-78E7BA3C09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4EBBBB-9294-4A0C-9DB6-F05A2F4ED8CF}" type="datetimeFigureOut">
              <a:rPr lang="de-DE" smtClean="0"/>
              <a:t>22.07.2022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49D929-54FA-4A27-8CB3-EF60DB12FBF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7DEEAD-84FE-4319-AB0B-B1758F6521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C7FFFE-D13F-4FCE-B853-09B194B15F9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4495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C81845-CAAC-444E-9C1A-DA245844C0B9}" type="datetimeFigureOut">
              <a:rPr lang="de-DE" smtClean="0"/>
              <a:t>22.07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A82359-0B5B-6F49-B1D5-8AA10FF3D79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32992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(obe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183">
            <a:extLst>
              <a:ext uri="{FF2B5EF4-FFF2-40B4-BE49-F238E27FC236}">
                <a16:creationId xmlns:a16="http://schemas.microsoft.com/office/drawing/2014/main" id="{516BFC67-588D-44D2-A7FB-3DEC5B9148A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3644396"/>
            <a:ext cx="7904474" cy="543555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1490110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2894519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047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7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4451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00995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975465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940972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906479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9871988" y="2482850"/>
            <a:ext cx="19152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64051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451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17E4AD-5104-44C2-8336-85B768845905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00995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75465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940972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906479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871988" y="4278313"/>
            <a:ext cx="19152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12955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09506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06057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02607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9915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B56B70D2-6866-4D3A-94C0-E4C459AFD8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85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6400" y="4598380"/>
            <a:ext cx="7904480" cy="672867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52000" tIns="72000" anchor="b" anchorCtr="0">
            <a:spAutoFit/>
          </a:bodyPr>
          <a:lstStyle>
            <a:lvl1pPr>
              <a:defRPr lang="de-DE" sz="3600" b="0" dirty="0"/>
            </a:lvl1pPr>
          </a:lstStyle>
          <a:p>
            <a:pPr marL="0" lvl="0"/>
            <a:r>
              <a:rPr lang="de-DE" dirty="0" err="1"/>
              <a:t>Kapiteltrenner</a:t>
            </a:r>
            <a:r>
              <a:rPr lang="de-DE" dirty="0"/>
              <a:t> in VWAG </a:t>
            </a:r>
            <a:r>
              <a:rPr lang="de-DE" dirty="0" err="1"/>
              <a:t>TheSans</a:t>
            </a:r>
            <a:r>
              <a:rPr lang="de-DE" dirty="0"/>
              <a:t> fe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BEA420-9100-4C87-BB1B-2BAD99DB7C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BB6438AF-6B1F-4C0C-9922-5E15420B73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E71CD7A9-A955-4456-AA1E-4624DFA18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EBF0A6C-53EB-4C7D-9BF7-2273545F71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1DB1555B-AC4D-46A5-A31D-AFB96B318FF0}" type="datetime1">
              <a:rPr lang="de-DE" smtClean="0"/>
              <a:pPr/>
              <a:t>22.07.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808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840E08-066C-4CDB-8658-2B32AFF1A193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C4471BC0-FA76-4095-9E71-8C6B456CA0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86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85903"/>
            <a:ext cx="11380788" cy="496709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E8BC92E-19ED-4772-B493-5FF4C8AE748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5A193D4F-5C9A-4A36-90F0-75E9519AC870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787296-C834-44D1-A096-F04851BBAE3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05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42F5351-3864-4254-AFCA-7A2815EF0B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293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40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&amp; INHALT (zw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CCFC20A9-64A7-4BDA-9C67-D027932FEC24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0AB3066-4EE6-474F-9621-989EA7FCA3B5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7961FF2-C011-4874-8D82-59C8FB528D81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B1A7A5EA-8B07-4C14-8C76-D583E9297A80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3FB24DE-48CE-4A86-8C59-14D557EA3025}"/>
              </a:ext>
            </a:extLst>
          </p:cNvPr>
          <p:cNvSpPr txBox="1"/>
          <p:nvPr/>
        </p:nvSpPr>
        <p:spPr>
          <a:xfrm>
            <a:off x="635857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E0ABA1D-33BC-46A5-B540-3530E829739E}"/>
              </a:ext>
            </a:extLst>
          </p:cNvPr>
          <p:cNvSpPr txBox="1"/>
          <p:nvPr/>
        </p:nvSpPr>
        <p:spPr>
          <a:xfrm>
            <a:off x="5637853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41305A9-0323-4F85-9434-019E7BCF204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09784" y="1981595"/>
            <a:ext cx="5475600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A707742-A8F3-42D7-BBAA-612EAA75B35F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76D625F-752B-4F16-A0AF-44843C1D8668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4326BB4-5046-4CB3-9938-1E9F62111F13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AC3520E-99F7-4F52-8003-FC8EC29BE213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85D2DA-A036-4084-A7C8-88C5FA214F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B5A0DF-1C29-439F-B084-63A075CD8237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C54E21-4625-433A-B9B2-F298C1E9A9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C10F4DD7-7BB1-4155-8349-8462F10F82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31C10000-E1BD-409A-B70B-7463245CC7F9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CE151EEB-474B-4D85-ACA1-B171D1A99C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784" y="1527209"/>
            <a:ext cx="547492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D30EB91-DD1D-4C41-8CFA-F3A5907296D2}"/>
              </a:ext>
            </a:extLst>
          </p:cNvPr>
          <p:cNvCxnSpPr>
            <a:cxnSpLocks/>
          </p:cNvCxnSpPr>
          <p:nvPr userDrawn="1"/>
        </p:nvCxnSpPr>
        <p:spPr>
          <a:xfrm>
            <a:off x="6309784" y="1827469"/>
            <a:ext cx="547492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D164BEA1-265B-4F9B-84BF-EA7CF6592F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67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&amp; INHALT (dr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0F490B-D532-4074-AA62-582D67A17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5"/>
            <a:ext cx="3502025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1760F8A-ACCC-4349-9168-0CF9F810996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5F854A58-327F-4938-8DCB-35C6BE29F1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1981595"/>
            <a:ext cx="350400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5E2BED5-8699-4AF2-8C81-1ADC59FB5D90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1831691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1531431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FF3EB9A-1224-44D8-945E-760F6DAB34C1}"/>
              </a:ext>
            </a:extLst>
          </p:cNvPr>
          <p:cNvGrpSpPr/>
          <p:nvPr userDrawn="1"/>
        </p:nvGrpSpPr>
        <p:grpSpPr>
          <a:xfrm>
            <a:off x="4343880" y="-226336"/>
            <a:ext cx="346079" cy="117695"/>
            <a:chOff x="6310948" y="-226336"/>
            <a:chExt cx="346079" cy="117695"/>
          </a:xfrm>
        </p:grpSpPr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38D54A-3B50-412C-99A9-A893DF01E466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6AD85E7D-EDDC-4209-B359-941F8F6669AC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1262FAA-FE04-48A4-8E64-756132D9938D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EABFE15D-6CEF-409B-889E-D48850EEA181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16D81CDB-D3DD-4ECC-9865-40C258650C73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D9BEC69-1BC2-40A9-A647-705D10FD9FA4}"/>
              </a:ext>
            </a:extLst>
          </p:cNvPr>
          <p:cNvGrpSpPr/>
          <p:nvPr userDrawn="1"/>
        </p:nvGrpSpPr>
        <p:grpSpPr>
          <a:xfrm>
            <a:off x="3679826" y="-226336"/>
            <a:ext cx="298449" cy="117695"/>
            <a:chOff x="5637853" y="-226336"/>
            <a:chExt cx="298449" cy="117695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260D1594-6FC7-42EF-AA73-C197A020C846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D89F3E7A-F7C0-471B-9C47-CD984AFA4B1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6932CE89-E215-47B8-BD0C-6CA1104C46B0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D7689B6B-5F56-4E31-83F4-0757B40CE4CF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EB502F3-DBB9-45EF-97AF-E928293426D0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E534291-58C0-40F5-8997-F4FF3F327C43}"/>
              </a:ext>
            </a:extLst>
          </p:cNvPr>
          <p:cNvGrpSpPr/>
          <p:nvPr userDrawn="1"/>
        </p:nvGrpSpPr>
        <p:grpSpPr>
          <a:xfrm>
            <a:off x="8281360" y="-226336"/>
            <a:ext cx="346079" cy="117695"/>
            <a:chOff x="6310948" y="-226336"/>
            <a:chExt cx="346079" cy="117695"/>
          </a:xfrm>
        </p:grpSpPr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578EC5A3-F67D-4599-8FE5-4BF7A6757F1E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981DEE06-F752-4CDA-8D9D-EF8B1CDC07F8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8725783B-D63B-45A4-867F-6C8526EE94EE}"/>
                </a:ext>
              </a:extLst>
            </p:cNvPr>
            <p:cNvSpPr txBox="1"/>
            <p:nvPr userDrawn="1"/>
          </p:nvSpPr>
          <p:spPr>
            <a:xfrm>
              <a:off x="6358578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689E672E-5C7A-4006-8999-A3F5B353DFC9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456ABEB1-A2D6-4FA5-95C6-2FB145FBE00F}"/>
                </a:ext>
              </a:extLst>
            </p:cNvPr>
            <p:cNvCxnSpPr/>
            <p:nvPr userDrawn="1"/>
          </p:nvCxnSpPr>
          <p:spPr>
            <a:xfrm flipV="1">
              <a:off x="6310948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F176BBAB-AF11-48B3-9F87-CBE43B92D7AF}"/>
              </a:ext>
            </a:extLst>
          </p:cNvPr>
          <p:cNvGrpSpPr/>
          <p:nvPr userDrawn="1"/>
        </p:nvGrpSpPr>
        <p:grpSpPr>
          <a:xfrm>
            <a:off x="7617306" y="-226336"/>
            <a:ext cx="298449" cy="117695"/>
            <a:chOff x="5637853" y="-226336"/>
            <a:chExt cx="298449" cy="117695"/>
          </a:xfrm>
        </p:grpSpPr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6C8EFDCC-6154-422D-8CF9-2877C31F703D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7998ACAA-4926-4CF0-B68F-66A402CE94F9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1D20F693-EAA3-40AD-8484-13EDE373AFBA}"/>
                </a:ext>
              </a:extLst>
            </p:cNvPr>
            <p:cNvSpPr txBox="1"/>
            <p:nvPr userDrawn="1"/>
          </p:nvSpPr>
          <p:spPr>
            <a:xfrm>
              <a:off x="5637853" y="-211931"/>
              <a:ext cx="298449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600" dirty="0"/>
                <a:t>0,60</a:t>
              </a:r>
            </a:p>
          </p:txBody>
        </p: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C19BC4F2-D973-43FE-AA4B-5DE0AE72371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03C20A8B-6FB7-428A-B045-AFEF0ADE6777}"/>
                </a:ext>
              </a:extLst>
            </p:cNvPr>
            <p:cNvCxnSpPr/>
            <p:nvPr userDrawn="1"/>
          </p:nvCxnSpPr>
          <p:spPr>
            <a:xfrm flipV="1">
              <a:off x="5879147" y="-226336"/>
              <a:ext cx="0" cy="1176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E9499597-F521-494A-AF71-09C2EA2F5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48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&amp; INHALT (vier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9387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1981596"/>
            <a:ext cx="2520000" cy="4107798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50" b="0">
                <a:solidFill>
                  <a:schemeClr val="accent5"/>
                </a:solidFill>
                <a:latin typeface="+mn-lt"/>
              </a:defRPr>
            </a:lvl2pPr>
            <a:lvl3pPr>
              <a:defRPr sz="105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CE6074B-8321-44D8-86BF-3D775810AB8E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024E7A5-8742-48E1-B392-CCC1A38A8477}"/>
              </a:ext>
            </a:extLst>
          </p:cNvPr>
          <p:cNvCxnSpPr>
            <a:cxnSpLocks/>
          </p:cNvCxnSpPr>
          <p:nvPr userDrawn="1"/>
        </p:nvCxnSpPr>
        <p:spPr>
          <a:xfrm>
            <a:off x="9265360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77395B9-E0F1-44EA-96CD-246A8A6DBC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8936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8B59FA70-F663-4DBB-8228-02D86336FD21}"/>
              </a:ext>
            </a:extLst>
          </p:cNvPr>
          <p:cNvCxnSpPr>
            <a:cxnSpLocks/>
          </p:cNvCxnSpPr>
          <p:nvPr userDrawn="1"/>
        </p:nvCxnSpPr>
        <p:spPr>
          <a:xfrm>
            <a:off x="412823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A5995894-BC86-4F8C-8220-7107557E43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3D1F19F-623C-47B9-90A7-93848DA92419}"/>
              </a:ext>
            </a:extLst>
          </p:cNvPr>
          <p:cNvCxnSpPr>
            <a:cxnSpLocks/>
          </p:cNvCxnSpPr>
          <p:nvPr userDrawn="1"/>
        </p:nvCxnSpPr>
        <p:spPr>
          <a:xfrm>
            <a:off x="3365811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354508A3-904F-4697-85FB-A684879702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9387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A9EAEC71-AB17-4153-BD45-80106CAFF208}"/>
              </a:ext>
            </a:extLst>
          </p:cNvPr>
          <p:cNvCxnSpPr>
            <a:cxnSpLocks/>
          </p:cNvCxnSpPr>
          <p:nvPr userDrawn="1"/>
        </p:nvCxnSpPr>
        <p:spPr>
          <a:xfrm>
            <a:off x="6318797" y="1831691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5E0BEDC-A8B0-4EE9-9500-38234099FDE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1531431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7" name="Fußzeilenplatzhalter 4">
            <a:extLst>
              <a:ext uri="{FF2B5EF4-FFF2-40B4-BE49-F238E27FC236}">
                <a16:creationId xmlns:a16="http://schemas.microsoft.com/office/drawing/2014/main" id="{3FA5374A-7FB9-4CE8-B7C1-437D38FFAD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759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F6BA34B-D8D7-41E8-B72B-2BAE757E68F3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EAF5CA2D-1E08-4D9B-ABE7-2FD594C111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4221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819523CD-205D-46FF-B870-126E3140C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548A74EE-715E-429A-8C5B-B824FAB17C9D}"/>
              </a:ext>
            </a:extLst>
          </p:cNvPr>
          <p:cNvCxnSpPr>
            <a:cxnSpLocks/>
          </p:cNvCxnSpPr>
          <p:nvPr userDrawn="1"/>
        </p:nvCxnSpPr>
        <p:spPr>
          <a:xfrm>
            <a:off x="404221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CB6CDF45-E20F-4C37-8277-B3401E910F26}"/>
              </a:ext>
            </a:extLst>
          </p:cNvPr>
          <p:cNvCxnSpPr>
            <a:cxnSpLocks/>
          </p:cNvCxnSpPr>
          <p:nvPr userDrawn="1"/>
        </p:nvCxnSpPr>
        <p:spPr>
          <a:xfrm>
            <a:off x="404221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2A415F38-A0C2-454B-ACB1-5BD9FA572ED2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404221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425E7C3D-EAE8-46D8-8D2A-F7AF6EFE4412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04221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03761E03-B3E2-4579-BA8C-50365725396B}"/>
              </a:ext>
            </a:extLst>
          </p:cNvPr>
          <p:cNvCxnSpPr>
            <a:cxnSpLocks/>
          </p:cNvCxnSpPr>
          <p:nvPr userDrawn="1"/>
        </p:nvCxnSpPr>
        <p:spPr>
          <a:xfrm>
            <a:off x="4339726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1930636E-38D2-4932-88E0-AD8A091A8285}"/>
              </a:ext>
            </a:extLst>
          </p:cNvPr>
          <p:cNvCxnSpPr>
            <a:cxnSpLocks/>
          </p:cNvCxnSpPr>
          <p:nvPr userDrawn="1"/>
        </p:nvCxnSpPr>
        <p:spPr>
          <a:xfrm>
            <a:off x="4339726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C8114F44-42AB-4A1C-9BE7-32494BA78EE1}"/>
              </a:ext>
            </a:extLst>
          </p:cNvPr>
          <p:cNvCxnSpPr>
            <a:cxnSpLocks/>
          </p:cNvCxnSpPr>
          <p:nvPr userDrawn="1"/>
        </p:nvCxnSpPr>
        <p:spPr>
          <a:xfrm>
            <a:off x="8283335" y="2835629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ACF12C98-F646-433D-BAC1-47154772078D}"/>
              </a:ext>
            </a:extLst>
          </p:cNvPr>
          <p:cNvCxnSpPr>
            <a:cxnSpLocks/>
          </p:cNvCxnSpPr>
          <p:nvPr userDrawn="1"/>
        </p:nvCxnSpPr>
        <p:spPr>
          <a:xfrm>
            <a:off x="8283335" y="467795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1481BD33-7460-4803-957F-6A300FE43C1F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4347830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6BDDC13F-EE6F-494C-B662-D941211565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347830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DD45818-0919-494A-9129-A67B977D3B4D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>
            <a:off x="4347830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2FDE56D4-7F8E-4F1F-A6FF-4DF8C47D8370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4347830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AE75AA62-9491-4BA5-8506-72B1D0CC0193}"/>
              </a:ext>
            </a:extLst>
          </p:cNvPr>
          <p:cNvSpPr>
            <a:spLocks noGrp="1"/>
          </p:cNvSpPr>
          <p:nvPr userDrawn="1">
            <p:ph type="body" sz="quarter" idx="35"/>
          </p:nvPr>
        </p:nvSpPr>
        <p:spPr>
          <a:xfrm>
            <a:off x="8283335" y="2989756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62F20366-AE8B-43BA-B45F-FB4CF2B11D4C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8283335" y="2542935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9A4A9622-08C6-49D6-896F-825C7DDEDE88}"/>
              </a:ext>
            </a:extLst>
          </p:cNvPr>
          <p:cNvSpPr>
            <a:spLocks noGrp="1"/>
          </p:cNvSpPr>
          <p:nvPr userDrawn="1">
            <p:ph type="body" sz="quarter" idx="37"/>
          </p:nvPr>
        </p:nvSpPr>
        <p:spPr>
          <a:xfrm>
            <a:off x="8283335" y="4835628"/>
            <a:ext cx="3502025" cy="112267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733B1648-787A-41B8-B7B5-78403247520F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8283335" y="4388807"/>
            <a:ext cx="3502025" cy="197298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07ACC867-7C64-4316-AA17-CD74FB20E6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4221" y="1349746"/>
            <a:ext cx="11381139" cy="83344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lang="de-DE" sz="1400" b="1" smtClean="0">
                <a:solidFill>
                  <a:schemeClr val="accent4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EB8E717A-8AFC-407F-80D4-631EC08605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20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C17AA23-FE2C-4F8E-9112-AC17EFE281A9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B725C700-2CA8-498B-A949-E05BAAD886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957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&amp;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209482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566C55-3B86-46F3-8AB3-06089AEAD3A1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CBA855-20FE-41E2-82E9-DB5440A7CD76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3140075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634D2F8-FCC0-4088-ADB5-210A01D5E1AA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613179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C7EEB57-B7B2-489D-BD5B-FCB1946F8D50}"/>
              </a:ext>
            </a:extLst>
          </p:cNvPr>
          <p:cNvSpPr>
            <a:spLocks noGrp="1"/>
          </p:cNvSpPr>
          <p:nvPr userDrawn="1">
            <p:ph type="body" sz="quarter" idx="23"/>
          </p:nvPr>
        </p:nvSpPr>
        <p:spPr>
          <a:xfrm>
            <a:off x="9128751" y="2261654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FA5C1250-DCC8-4FA3-9048-060FCFC4D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40075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A4AB1C56-139D-4DF4-8849-39E2FDECB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1791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559B617-D6A5-461B-B536-96BD6E64222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26332" y="1814834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rgbClr val="A21E4D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6D6D629C-224F-4BA5-B9E6-BA8261C74D17}"/>
              </a:ext>
            </a:extLst>
          </p:cNvPr>
          <p:cNvCxnSpPr>
            <a:cxnSpLocks/>
          </p:cNvCxnSpPr>
          <p:nvPr userDrawn="1"/>
        </p:nvCxnSpPr>
        <p:spPr>
          <a:xfrm>
            <a:off x="3139574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D515A55-D632-48A8-AA16-FC14620C46AD}"/>
              </a:ext>
            </a:extLst>
          </p:cNvPr>
          <p:cNvCxnSpPr>
            <a:cxnSpLocks/>
          </p:cNvCxnSpPr>
          <p:nvPr userDrawn="1"/>
        </p:nvCxnSpPr>
        <p:spPr>
          <a:xfrm>
            <a:off x="6132703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E9D7505-3C5F-4F9B-82AB-938B5D281925}"/>
              </a:ext>
            </a:extLst>
          </p:cNvPr>
          <p:cNvCxnSpPr>
            <a:cxnSpLocks/>
          </p:cNvCxnSpPr>
          <p:nvPr userDrawn="1"/>
        </p:nvCxnSpPr>
        <p:spPr>
          <a:xfrm>
            <a:off x="9125831" y="2107528"/>
            <a:ext cx="2659529" cy="0"/>
          </a:xfrm>
          <a:prstGeom prst="line">
            <a:avLst/>
          </a:prstGeom>
          <a:ln w="9525">
            <a:solidFill>
              <a:srgbClr val="A21E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FC3CCE5-847D-422F-A122-595A71072CCC}"/>
              </a:ext>
            </a:extLst>
          </p:cNvPr>
          <p:cNvCxnSpPr>
            <a:cxnSpLocks/>
          </p:cNvCxnSpPr>
          <p:nvPr userDrawn="1"/>
        </p:nvCxnSpPr>
        <p:spPr>
          <a:xfrm>
            <a:off x="3139574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BA276A1-5A26-4B22-B35C-EB72FDB41964}"/>
              </a:ext>
            </a:extLst>
          </p:cNvPr>
          <p:cNvCxnSpPr>
            <a:cxnSpLocks/>
          </p:cNvCxnSpPr>
          <p:nvPr userDrawn="1"/>
        </p:nvCxnSpPr>
        <p:spPr>
          <a:xfrm>
            <a:off x="6132703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CF2FDED6-6FC2-4E70-AC15-F225CE995252}"/>
              </a:ext>
            </a:extLst>
          </p:cNvPr>
          <p:cNvCxnSpPr>
            <a:cxnSpLocks/>
          </p:cNvCxnSpPr>
          <p:nvPr userDrawn="1"/>
        </p:nvCxnSpPr>
        <p:spPr>
          <a:xfrm>
            <a:off x="9125831" y="4517141"/>
            <a:ext cx="265952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12DE4665-8A93-4C09-9981-4024D7239789}"/>
              </a:ext>
            </a:extLst>
          </p:cNvPr>
          <p:cNvSpPr>
            <a:spLocks noGrp="1"/>
          </p:cNvSpPr>
          <p:nvPr userDrawn="1">
            <p:ph type="body" sz="quarter" idx="27"/>
          </p:nvPr>
        </p:nvSpPr>
        <p:spPr>
          <a:xfrm>
            <a:off x="3140075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4004B7-ED5B-46B8-884F-DD2037FE8DF4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613179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6F2216E7-C6F3-4E94-80F9-643A3D36195E}"/>
              </a:ext>
            </a:extLst>
          </p:cNvPr>
          <p:cNvSpPr>
            <a:spLocks noGrp="1"/>
          </p:cNvSpPr>
          <p:nvPr userDrawn="1">
            <p:ph type="body" sz="quarter" idx="29"/>
          </p:nvPr>
        </p:nvSpPr>
        <p:spPr>
          <a:xfrm>
            <a:off x="9128751" y="4674812"/>
            <a:ext cx="2659028" cy="14954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1100" b="0" smtClean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179996" lvl="0" indent="-179996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AB430253-39D7-4A0A-A518-E8C7D497D3EB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3140075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BAAC5F5-E8EF-477E-9BCB-7ADB1C981759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131791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201B88BC-A64B-44E4-A1CB-270A5F4A7AA6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126332" y="4227992"/>
            <a:ext cx="2659028" cy="197298"/>
          </a:xfrm>
        </p:spPr>
        <p:txBody>
          <a:bodyPr vert="horz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A50FDF5-AD2B-484F-8035-77ECCA39FD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484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(un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183">
            <a:extLst>
              <a:ext uri="{FF2B5EF4-FFF2-40B4-BE49-F238E27FC236}">
                <a16:creationId xmlns:a16="http://schemas.microsoft.com/office/drawing/2014/main" id="{737BF053-C80E-44EE-9ADA-C0BD97C21FB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2193200" cy="6871063"/>
          </a:xfrm>
          <a:custGeom>
            <a:avLst/>
            <a:gdLst>
              <a:gd name="connsiteX0" fmla="*/ 0 w 12193200"/>
              <a:gd name="connsiteY0" fmla="*/ 0 h 6858000"/>
              <a:gd name="connsiteX1" fmla="*/ 9476660 w 12193200"/>
              <a:gd name="connsiteY1" fmla="*/ 0 h 6858000"/>
              <a:gd name="connsiteX2" fmla="*/ 9476660 w 12193200"/>
              <a:gd name="connsiteY2" fmla="*/ 907200 h 6858000"/>
              <a:gd name="connsiteX3" fmla="*/ 11787188 w 12193200"/>
              <a:gd name="connsiteY3" fmla="*/ 9072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9476660" y="0"/>
                </a:lnTo>
                <a:lnTo>
                  <a:pt x="9476660" y="907200"/>
                </a:lnTo>
                <a:lnTo>
                  <a:pt x="11787188" y="9072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und legen den Platzhalter </a:t>
            </a:r>
            <a:br>
              <a:rPr lang="de-DE" dirty="0"/>
            </a:br>
            <a:r>
              <a:rPr lang="de-DE" dirty="0"/>
              <a:t>anschließend in den Hintergrund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5903182"/>
            <a:ext cx="7904474" cy="525049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3748896"/>
            <a:ext cx="7904480" cy="1337578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5153305"/>
            <a:ext cx="7904480" cy="398652"/>
          </a:xfrm>
        </p:spPr>
        <p:txBody>
          <a:bodyPr lIns="21600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51"/>
              </a:spcAft>
              <a:buFont typeface="Arial" panose="020B0604020202020204" pitchFamily="34" charset="0"/>
              <a:buNone/>
              <a:defRPr lang="de-DE" sz="14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59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&amp; INHALT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CBE9547-283E-4401-BD4C-6EFB83DD1E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1639888"/>
            <a:ext cx="2816225" cy="3578225"/>
          </a:xfrm>
          <a:prstGeom prst="homePlate">
            <a:avLst>
              <a:gd name="adj" fmla="val 15470"/>
            </a:avLst>
          </a:prstGeom>
          <a:solidFill>
            <a:srgbClr val="F1F7F9"/>
          </a:solidFill>
          <a:ln>
            <a:solidFill>
              <a:schemeClr val="accent2"/>
            </a:solidFill>
          </a:ln>
        </p:spPr>
        <p:txBody>
          <a:bodyPr lIns="360000" anchor="ctr" anchorCtr="0"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  <a:lvl2pPr marL="179995" indent="0">
              <a:buNone/>
              <a:defRPr/>
            </a:lvl2pPr>
            <a:lvl5pPr marL="179995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BD6EF5-3686-4F2B-B122-CEAEA4532F4E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C544081-8EFF-408D-8B38-E5372A032A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970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(Pfe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C26D637-90D9-4B2C-822E-B683E81731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639156"/>
            <a:ext cx="3515992" cy="4230094"/>
          </a:xfrm>
          <a:prstGeom prst="homePlate">
            <a:avLst>
              <a:gd name="adj" fmla="val 15195"/>
            </a:avLst>
          </a:pr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7CC21B-C1E8-4FA3-BAC9-5DFE8046ADAF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BD8D7F60-5537-42FF-B4FF-3F2C99374E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377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448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6"/>
            <a:ext cx="7199086" cy="4935554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2DE4-8389-4D5E-8B83-6EA7ED4A112B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A6A89A5-2710-4029-B29A-F156CB341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D2591CD-96CB-46F9-8A10-5C3D3592BD7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194927E2-CDA2-4266-8A55-00BD28FAF26E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32" name="Rechteck 118">
                <a:extLst>
                  <a:ext uri="{FF2B5EF4-FFF2-40B4-BE49-F238E27FC236}">
                    <a16:creationId xmlns:a16="http://schemas.microsoft.com/office/drawing/2014/main" id="{CA8F7623-D659-4AF9-AA21-68F0E67E10B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35" name="Gruppieren 34">
                <a:extLst>
                  <a:ext uri="{FF2B5EF4-FFF2-40B4-BE49-F238E27FC236}">
                    <a16:creationId xmlns:a16="http://schemas.microsoft.com/office/drawing/2014/main" id="{1613C51E-7D81-4565-BC7E-DF06D1C98024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36" name="Grafik 35">
                  <a:extLst>
                    <a:ext uri="{FF2B5EF4-FFF2-40B4-BE49-F238E27FC236}">
                      <a16:creationId xmlns:a16="http://schemas.microsoft.com/office/drawing/2014/main" id="{46B26556-9F32-424A-BF81-0F95D9F2287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37" name="Grafik 36">
                  <a:extLst>
                    <a:ext uri="{FF2B5EF4-FFF2-40B4-BE49-F238E27FC236}">
                      <a16:creationId xmlns:a16="http://schemas.microsoft.com/office/drawing/2014/main" id="{0A2909DA-F1B5-47E4-BF6C-F52043312A7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755F760-4780-46C1-9DF5-BD06A2C6F0D9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6D962AFE-F917-4B7E-B710-824694F8540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2E5BB971-22C9-4F12-AFA8-1F44220391F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31E9724-81CF-4C8E-8A02-9780D04EFDC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626BFEF7-A22C-4107-A504-DE6B7D5C5195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32A98AFA-9C6E-45D9-9CC9-4FF3E0E769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20DC7F6D-2004-4D5B-805E-137FEE5E948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68EB6049-0F3F-4C22-87A8-2CD4E35F6E2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497835F-789A-4F7F-ABF4-1D01E0232B44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9EF49F6E-07D6-4875-8CF8-432795BB55D2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E8CC650F-02D1-4604-B69E-10495340E62D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A894C938-1BDF-42E2-A86D-3217F02F4FC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EABC4482-FA88-4DA0-98FF-25C61FC2229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1DA8E4D3-F962-4933-B25F-B9C7472FE62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1DE15073-C58E-4ECF-8E3C-06EC27D1ACB0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9706617C-D52D-409D-AA8E-A791940B5D1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C1759E5-22E4-4F2D-9F45-2596016D053C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2B91D485-240F-4B77-9882-2B7C3423770C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B1AD4ED2-076B-433B-AAFC-211807E51D0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4C5A1B7-0B23-4C28-A2B4-F80B5327C7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8B8FAFB6-3819-499D-92DC-C7E1EC76145F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80133C8A-9EFF-4FE1-83A6-8D144101CAEC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85213805-4AF2-4668-8DC8-3F71DCFD5CB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0FB21EB6-5A03-4535-831E-1A0BBCFB5162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8E474F2-B1F7-4F88-8F21-4ECEA9B347E5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5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913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645AE-05E8-4C20-8E9A-EFAB5492D3DF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981594"/>
            <a:ext cx="7199086" cy="4473205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4C3D6DF-2DBA-40D4-8C4A-1E921FB5FA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0" y="1527209"/>
            <a:ext cx="719908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u="none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1E5F7244-7D8B-4F44-A9F5-53AE6ABD68A1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6823893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3F5BCA37-B3D2-4A67-B93A-05C7572B3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417407E-66D5-4170-8F8D-E97AC81E041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BFAC29E5-BF51-45DA-A73C-D6F8A48FE8F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BCBBEB2D-C18A-4217-AB40-1C7D9245F145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A291C27C-AABB-4172-87C4-018D15DBC4A6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B6245DD5-87BF-4E55-9D32-92FD3B33C5F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FFAD2671-D001-4FBE-B155-27614D82B4A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56797F5-9CC7-4152-9CA5-CE548FFAFAD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BF066205-4A05-4697-8276-EBF120301AF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A821F4F-EF29-479A-B62F-9647269F4A1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F1C4A34B-32A7-4B18-BDA1-2B6114555FBE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F602D62-CA11-4BFB-8B21-CBD510AFB8F1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1942A03-5116-49EB-ADEA-5A57749DD65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651DF32-C8CB-4787-BFD5-D15593C27EF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24B7AAA-18E8-429C-9866-1DC0C57BC4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50B5022D-4AC7-4362-86AB-F58610809B3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5BB9DF8F-9F00-45A1-A7C3-1F176AFE8751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FA6D7902-26E2-4AFB-BB0B-DE936DC2F9C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3D5993B5-A1D5-4AC8-8A0D-825488A320F0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242C8F42-03B5-415C-B7FC-9230D28CDF9B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19BDAB56-DE9B-42AC-AECB-EC11DA0A216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72498ACF-E9E9-4D81-9647-7523B439AEB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38FCD68-1C37-4250-BF72-5A693A42B3DF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31F7B4E4-6199-4723-AF3A-C8E0D66CAD1E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1CF6D10-167C-451F-BC39-83EB0BEB431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7F837C70-41D6-4688-A094-7351D960B576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F0354AB7-3E55-489E-AA79-822A661730B0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8AF2427-6885-4770-8433-6A3BEA5857CC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A853DC19-D06D-46B7-81D4-787016703446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D187C09F-FA59-47ED-9BDA-228EB7FF43F5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B42B8C5-8C51-4B42-A3AA-D733FF56E6B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B9DAA61-397B-4078-9DF9-327C35635D6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36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3191E-5C04-44A9-A60F-A5B023872CC6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527209"/>
            <a:ext cx="3399870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527209"/>
            <a:ext cx="3401787" cy="456218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380A6914-1FB4-48AC-8DD6-D772600E20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9878997-8101-4817-98F9-2E400642AA0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6B67B949-88D8-42D1-AFCE-2A98432B30B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8" name="Rechteck 118">
                <a:extLst>
                  <a:ext uri="{FF2B5EF4-FFF2-40B4-BE49-F238E27FC236}">
                    <a16:creationId xmlns:a16="http://schemas.microsoft.com/office/drawing/2014/main" id="{0A61286F-BD6D-4690-BA16-DB2849066CD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59" name="Gruppieren 58">
                <a:extLst>
                  <a:ext uri="{FF2B5EF4-FFF2-40B4-BE49-F238E27FC236}">
                    <a16:creationId xmlns:a16="http://schemas.microsoft.com/office/drawing/2014/main" id="{3271C8EA-ECE3-4F63-A8EC-9101C77C8DDB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8AB34929-8144-441F-8135-4189A2D3F39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E2698E4D-E005-4D64-AD54-7FB8EF6CD8C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B8C272DF-9CE8-4B9A-B587-E14B80094845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803911AA-657A-4A54-A9A1-8ACBD6E793CD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9CEDEBC-559F-485B-8D00-7413724C8C1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F2B3849-74E0-4831-BADE-AF9B642166EA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D106F842-6FCC-48BA-8DF7-02691E03847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931BC29F-53C7-44E1-881F-44D7A726CBEE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17CADC4E-4F25-430E-BA9A-5ED4157784B2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BEF5AE76-E434-4242-8681-1F921170CAD6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714DDCFC-9B7F-402B-8973-4410568DD22F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7991E851-3E73-43C6-B457-E05C7F1246AB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D85BE55-146C-46DD-91B9-AF6A590AD51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1118A9D2-E0D6-4681-9BB0-9FCEF62A3F28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3E26C492-032B-47D3-9711-1444D1D05CD8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A4B948AC-73F6-45F7-9EEB-692F7D03BD8B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9AB45A5-7621-47D7-8271-80F23EE1AAF3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F1632AD5-56F9-4EB5-83EA-B36CC033AFEB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7FFE0C6-320A-4298-B34E-FDC9BF81C1A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0B8E50D-692A-42D0-B8FF-CBB78D0C2D39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5C54365-66A3-4286-8922-3E958241A9C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B1873B1C-E756-4C58-8ADC-4185CCA2E138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09A3CA5-D563-4515-8F86-0DD7AF829AC8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B02E08D9-33E8-464E-9396-97DD2BC0140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07FF2E0-688C-458A-81D5-85561B7B2C7F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36C28A8D-B3AD-460A-A7E3-1F8301D45D36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A4552EDF-06D5-4241-81B4-C5DECE030BF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63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1BF09-7F3A-43E3-8D74-BDD8656E0669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4107798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60550E44-12E0-4BB6-B875-85B0A2D53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4BE0092-E9EE-4719-87F5-4CD86D112B11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AFDA04DA-CB85-4376-A610-2E3F6C42BB6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4" name="Rechteck 118">
                <a:extLst>
                  <a:ext uri="{FF2B5EF4-FFF2-40B4-BE49-F238E27FC236}">
                    <a16:creationId xmlns:a16="http://schemas.microsoft.com/office/drawing/2014/main" id="{26AB71B2-842A-4466-BD3E-0A01C960D67A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5" name="Gruppieren 64">
                <a:extLst>
                  <a:ext uri="{FF2B5EF4-FFF2-40B4-BE49-F238E27FC236}">
                    <a16:creationId xmlns:a16="http://schemas.microsoft.com/office/drawing/2014/main" id="{567650B3-3CCA-4AB5-9B3F-ADBE261C7BE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6" name="Grafik 65">
                  <a:extLst>
                    <a:ext uri="{FF2B5EF4-FFF2-40B4-BE49-F238E27FC236}">
                      <a16:creationId xmlns:a16="http://schemas.microsoft.com/office/drawing/2014/main" id="{41DDE757-1EEB-47EB-9432-C4CFE4DE54C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7" name="Grafik 66">
                  <a:extLst>
                    <a:ext uri="{FF2B5EF4-FFF2-40B4-BE49-F238E27FC236}">
                      <a16:creationId xmlns:a16="http://schemas.microsoft.com/office/drawing/2014/main" id="{8B8C099D-7676-46EF-9202-7DF4C678783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6B246DC-837B-49D7-9EC2-CDD50C0A4813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F5968BD9-83D2-4692-A2EA-724DFF121E1F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2EEE3F68-2E17-4C3A-B15F-CCB10F086FA8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10581D7E-FA96-4888-AC52-6A35699477E9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B22C610-5905-44C4-95C3-33ECE9C8511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6CE51A56-70CD-441B-B39F-0F0D6C537444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0519180F-7E56-4C44-A4B8-5C23EE21799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C92000F0-E5C1-4B82-B552-B117678E79B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D6AC6B70-01BE-427F-9284-C5450D98866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C62FEA9B-4B19-4D1D-A054-EA57AD1CC8F4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9338BAD5-E21C-47DE-AFFB-F5176275D6D7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235B0C9D-867A-48A3-AF52-7F11995B2929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6BC00397-84D3-49DA-8BAC-79ADDF269F7C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8CB0DB88-447C-4108-8B82-B81F46471E95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BD91DB2A-652B-41DA-BB04-DA837303941F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F1439F07-EB06-4D42-A540-CE00E6F185C1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5940DB80-37D0-4240-9704-EFB661E03B1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94C1707E-6808-4A62-8E70-2913CB1A14CF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F3C7BC4-E3A7-42F9-B309-CDDC50A9E45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9E0FE00A-567E-4ADC-8C8D-C64AAB6222F3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1A5DDF18-78AF-4068-A0AE-C3786B1AAA6E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6D39FF66-0263-43C2-BF1C-886FBD0C30B1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A660229-B48E-483A-AABD-0B3743575D20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E37140EC-86A8-4A6D-A7BC-8E001529AC85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AABA36EF-4283-4A6F-B85B-F3FF3D432B8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906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&amp;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E735A40C-F323-4044-A2CB-469C5808A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519247"/>
            <a:ext cx="7199086" cy="1286658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5D6A17D8-FE23-4346-A215-B494129C6E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D174C-2459-41D5-A89C-C97AF0E8C5C5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93CCB8F9-A988-41EE-A2FD-6F2323565837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0B23849-21E0-4027-90F9-22EF05217435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D871E6B3-8E64-4D1F-B4BD-82FD2C8699E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168230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088D129-FC61-4A6F-A966-919C02C57A19}"/>
              </a:ext>
            </a:extLst>
          </p:cNvPr>
          <p:cNvCxnSpPr>
            <a:cxnSpLocks/>
          </p:cNvCxnSpPr>
          <p:nvPr userDrawn="1"/>
        </p:nvCxnSpPr>
        <p:spPr>
          <a:xfrm>
            <a:off x="404221" y="3468490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4BCBE06C-F8E4-4977-857C-FA681E9828C3}"/>
              </a:ext>
            </a:extLst>
          </p:cNvPr>
          <p:cNvCxnSpPr>
            <a:cxnSpLocks/>
          </p:cNvCxnSpPr>
          <p:nvPr userDrawn="1"/>
        </p:nvCxnSpPr>
        <p:spPr>
          <a:xfrm>
            <a:off x="4203700" y="3472712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D3DEA71-0597-4F77-B20B-4A5F3070E0E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3172452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6F85F8C-5B57-4EB9-9EE8-3BDC0C8F5DF7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404221" y="3581820"/>
            <a:ext cx="3399870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45BCF46B-DC2C-452C-9A94-14C51BF82BE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3581820"/>
            <a:ext cx="3401787" cy="2311630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E0C8FA10-41AD-4B44-A5A4-FBD8EB69AC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306BD445-355F-4F3A-9D50-A36CCDEE4E73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31FD63AC-6849-4C6C-9815-4AD97C0467C0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66" name="Rechteck 118">
                <a:extLst>
                  <a:ext uri="{FF2B5EF4-FFF2-40B4-BE49-F238E27FC236}">
                    <a16:creationId xmlns:a16="http://schemas.microsoft.com/office/drawing/2014/main" id="{705FC5B6-8C6C-46F3-9A88-0BDE5B98289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7" name="Gruppieren 66">
                <a:extLst>
                  <a:ext uri="{FF2B5EF4-FFF2-40B4-BE49-F238E27FC236}">
                    <a16:creationId xmlns:a16="http://schemas.microsoft.com/office/drawing/2014/main" id="{6FCC9D49-A944-467B-9BEE-AE3D83A23C6F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8" name="Grafik 67">
                  <a:extLst>
                    <a:ext uri="{FF2B5EF4-FFF2-40B4-BE49-F238E27FC236}">
                      <a16:creationId xmlns:a16="http://schemas.microsoft.com/office/drawing/2014/main" id="{B75DF324-C2A2-443D-A53B-83F4DE56A6C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9" name="Grafik 68">
                  <a:extLst>
                    <a:ext uri="{FF2B5EF4-FFF2-40B4-BE49-F238E27FC236}">
                      <a16:creationId xmlns:a16="http://schemas.microsoft.com/office/drawing/2014/main" id="{AF0FD272-86E1-4E1E-9D5C-0FFC19308CF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16FC5985-D5F4-4664-8C52-D7FDCB27F7D6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3383C82D-32D8-49BD-94BC-46F61D217FB8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4E67774-F417-4C35-BE1B-BB025568F4F3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A84966A-CF15-4506-BC37-771F94CDFAA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825FBAB-EEFB-4FE7-A7AF-9EBD3B4FD39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B20A1DC-8CB7-427C-AEE5-1FF741B7FDF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3E5D48CB-A6E8-4A30-923C-E4A0638C50A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96520839-C689-4969-A691-C01516AF6DEC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1F52905-BC88-459B-B1D1-4BEFB627811E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F603259D-32D8-4E11-ACA5-DC538F24640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E72DB681-7BBE-4C34-8D00-4040D7DB307E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259E560E-FA2D-4A94-B24B-F4D6941FF3BE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F88C58A9-90DB-4162-8D06-6BA0C6F7E13D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B0702FBE-5D42-491A-A421-FAE08D5D06BC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542911CA-403A-4FD1-BE05-7B5576B32FA9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284FDE09-741F-4267-8777-87B988237464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F2F4E494-7C20-48EA-B3E9-0FF2ACDCE910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8567BC4-A014-4FD4-B6FF-083AE2550A4A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C689A6BF-9138-4C87-97C7-04961A610380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B41D6EAF-6093-4DB5-9A38-450BF9FEB24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09EDB754-C0C6-4D25-AAB6-C70E95DF8930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C1F4650-0488-43A7-8108-7BC520C5337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65FA3BA-BCD2-488B-9BC6-4D33BFEEAFB4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49D16291-0F73-4BF6-8A46-7148CF464C58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45F0DB35-D3A2-4EC4-ACCC-E3134C511B8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0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8203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&amp; BILD (Sub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4DE3D2-864D-465D-A084-F71FCA316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08A86-A361-41DA-97C3-2866A1485CB3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E8A10D-13B3-47C6-96BB-31E660D97C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20E002A8-2C77-48D2-9657-AD02E115A5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5C975D0-BE46-49F9-8340-4458676D3A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221" y="1981595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6AF29AD-EB00-4193-91FD-4108E400DF4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203700" y="1981595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A2365848-D324-41E5-96C0-53731881E5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1527209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DCE2852-221C-4202-8B90-23D1765B2494}"/>
              </a:ext>
            </a:extLst>
          </p:cNvPr>
          <p:cNvCxnSpPr>
            <a:cxnSpLocks/>
          </p:cNvCxnSpPr>
          <p:nvPr userDrawn="1"/>
        </p:nvCxnSpPr>
        <p:spPr>
          <a:xfrm>
            <a:off x="404221" y="1827469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619A3C2-5398-434F-812B-8992EEA01E59}"/>
              </a:ext>
            </a:extLst>
          </p:cNvPr>
          <p:cNvCxnSpPr>
            <a:cxnSpLocks/>
          </p:cNvCxnSpPr>
          <p:nvPr userDrawn="1"/>
        </p:nvCxnSpPr>
        <p:spPr>
          <a:xfrm>
            <a:off x="4203700" y="1831691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E2AD3775-12EE-42A0-825E-4483878D7E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03700" y="1531431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A669106F-52DE-4DED-BF69-813F913D7692}"/>
              </a:ext>
            </a:extLst>
          </p:cNvPr>
          <p:cNvSpPr>
            <a:spLocks noGrp="1"/>
          </p:cNvSpPr>
          <p:nvPr>
            <p:ph idx="34"/>
          </p:nvPr>
        </p:nvSpPr>
        <p:spPr>
          <a:xfrm>
            <a:off x="404221" y="4439389"/>
            <a:ext cx="3399870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64AA16E0-8B78-43D7-A0E6-7ABC64480C23}"/>
              </a:ext>
            </a:extLst>
          </p:cNvPr>
          <p:cNvSpPr>
            <a:spLocks noGrp="1"/>
          </p:cNvSpPr>
          <p:nvPr>
            <p:ph idx="35"/>
          </p:nvPr>
        </p:nvSpPr>
        <p:spPr>
          <a:xfrm>
            <a:off x="4203700" y="4439389"/>
            <a:ext cx="3401787" cy="1610609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DE90437A-5CF0-457E-989F-D94EDB0FE35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04221" y="3985003"/>
            <a:ext cx="339986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66391EA5-CF5A-450A-9A28-F4462FABF7E7}"/>
              </a:ext>
            </a:extLst>
          </p:cNvPr>
          <p:cNvCxnSpPr>
            <a:cxnSpLocks/>
          </p:cNvCxnSpPr>
          <p:nvPr userDrawn="1"/>
        </p:nvCxnSpPr>
        <p:spPr>
          <a:xfrm>
            <a:off x="404221" y="4285263"/>
            <a:ext cx="339986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130D642E-A8EA-4F03-A557-0E132A9C6B8F}"/>
              </a:ext>
            </a:extLst>
          </p:cNvPr>
          <p:cNvCxnSpPr>
            <a:cxnSpLocks/>
          </p:cNvCxnSpPr>
          <p:nvPr userDrawn="1"/>
        </p:nvCxnSpPr>
        <p:spPr>
          <a:xfrm>
            <a:off x="4203700" y="4289485"/>
            <a:ext cx="340178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F51C169E-004C-4FCB-BB51-54F4018506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03700" y="3989225"/>
            <a:ext cx="3403899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5" name="Fußzeilenplatzhalter 4">
            <a:extLst>
              <a:ext uri="{FF2B5EF4-FFF2-40B4-BE49-F238E27FC236}">
                <a16:creationId xmlns:a16="http://schemas.microsoft.com/office/drawing/2014/main" id="{33567A54-D7C6-4B5A-B100-98C2CC3F97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6F67526C-1FD1-4D83-B5E6-46F9FCA299AB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8578FF8-D5B0-4577-BBCD-3131145C8571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71" name="Rechteck 118">
                <a:extLst>
                  <a:ext uri="{FF2B5EF4-FFF2-40B4-BE49-F238E27FC236}">
                    <a16:creationId xmlns:a16="http://schemas.microsoft.com/office/drawing/2014/main" id="{FF3FB51D-E5D8-4294-8CBC-507BD2922876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72" name="Gruppieren 71">
                <a:extLst>
                  <a:ext uri="{FF2B5EF4-FFF2-40B4-BE49-F238E27FC236}">
                    <a16:creationId xmlns:a16="http://schemas.microsoft.com/office/drawing/2014/main" id="{A8C440A2-172A-4B1D-9D62-6B7D2E3910F7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73" name="Grafik 72">
                  <a:extLst>
                    <a:ext uri="{FF2B5EF4-FFF2-40B4-BE49-F238E27FC236}">
                      <a16:creationId xmlns:a16="http://schemas.microsoft.com/office/drawing/2014/main" id="{746ED932-199E-40CD-8B60-F88E99CE5F2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74" name="Grafik 73">
                  <a:extLst>
                    <a:ext uri="{FF2B5EF4-FFF2-40B4-BE49-F238E27FC236}">
                      <a16:creationId xmlns:a16="http://schemas.microsoft.com/office/drawing/2014/main" id="{237B6A04-84BD-42AB-87F6-E531EEF4FFC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CE9165D-1E04-4EBB-8731-4ADCF81A5B2B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C14ED7F2-CDFE-4B48-802A-4D19514C0762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43D282E-4A34-4E8C-94CC-63B938FB9321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18B2D230-6AB1-4B79-BA6D-E20E5B288101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596DF395-0E73-409F-A942-E2964BA4F55C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C91CF77A-B1B7-42C4-98E0-4B138313A819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017C83FE-C496-4BEF-9DC7-D9C34AA8C833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C7E4CBD9-8556-4FDE-92A6-48D703642DCB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399FAF73-DDB1-4885-BBA0-0B499F28CEC5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3BF41722-793E-4CA6-87F1-DC41B0D96F6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89E1DD96-DEC3-4C16-9859-65901C32288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D6DCAD0B-BE5E-43A4-853F-E4D76DA6948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6D1E70CF-5E88-40F7-9ABC-EC4D7F083069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9581E3B4-F0DB-44C4-838B-F817FC452B5F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7965AA13-7D6F-4B32-926E-0651BF5DB6CE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11ABFBF5-AEFD-4E64-9DBB-678479CDD417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34CF700-2C7D-48D2-AF7A-804C27F46E7D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0870954-4D46-45D6-AB8D-861FB99E5403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4136F67A-C0C0-44BF-8B5A-83B9ECC0F1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A616B16-1B8C-4126-8636-07CDD183A0A5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90435FD-06C1-4F79-85D8-CA875BDD988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BE8F2DE3-C0AA-4DC6-990A-80B252736F88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6B7323D7-4370-4E30-A7DC-01C6D47422E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B7ED1EFB-79CE-4BF0-BE6B-89C03248A1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F656636F-6254-463D-A769-A24118F8CF38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75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321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3649126"/>
            <a:ext cx="3500051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3649126"/>
            <a:ext cx="3502025" cy="2440267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646BC0-603F-40E2-BEA7-4CA6067427CF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5A997443-29A4-428B-BC7B-1E661AEC63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668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398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8C538C82-6E90-4091-964F-61B4E9EE60F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8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F0E1172-DDB2-45DC-AFA6-346D9C5DB1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85079" y="1485904"/>
            <a:ext cx="3906919" cy="1968908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42340CA-C323-4B49-BC39-3F464A65D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4044783"/>
            <a:ext cx="3500051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73BE86BE-A2CC-4D1B-9134-5E59E26725C1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34388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EE0C5B46-815D-4031-B6B1-05E0C88F86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81360" y="4044783"/>
            <a:ext cx="3502025" cy="2044610"/>
          </a:xfrm>
        </p:spPr>
        <p:txBody>
          <a:bodyPr vert="horz" lIns="0" tIns="0" rIns="0" bIns="0" rtlCol="0">
            <a:noAutofit/>
          </a:bodyPr>
          <a:lstStyle>
            <a:lvl1pPr>
              <a:defRPr lang="de-DE" b="0" dirty="0">
                <a:solidFill>
                  <a:schemeClr val="accent5"/>
                </a:solidFill>
                <a:latin typeface="+mn-lt"/>
              </a:defRPr>
            </a:lvl1pPr>
            <a:lvl2pPr>
              <a:defRPr lang="de-DE" sz="1200" b="0" dirty="0">
                <a:solidFill>
                  <a:schemeClr val="accent5"/>
                </a:solidFill>
                <a:latin typeface="+mn-lt"/>
              </a:defRPr>
            </a:lvl2pPr>
            <a:lvl3pPr>
              <a:defRPr lang="de-DE" sz="1200" b="0" dirty="0">
                <a:solidFill>
                  <a:schemeClr val="accent5"/>
                </a:solidFill>
                <a:latin typeface="+mn-lt"/>
              </a:defRPr>
            </a:lvl3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8B923F-EC29-433B-A81E-9C3EF46F66A4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221" y="3644904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4221" y="3945164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D9F422D4-481F-47D5-BF5B-541B4510346E}"/>
              </a:ext>
            </a:extLst>
          </p:cNvPr>
          <p:cNvCxnSpPr>
            <a:cxnSpLocks/>
          </p:cNvCxnSpPr>
          <p:nvPr userDrawn="1"/>
        </p:nvCxnSpPr>
        <p:spPr>
          <a:xfrm>
            <a:off x="4339726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8AC6837-C193-4E8B-B246-27FA6F4664F5}"/>
              </a:ext>
            </a:extLst>
          </p:cNvPr>
          <p:cNvCxnSpPr>
            <a:cxnSpLocks/>
          </p:cNvCxnSpPr>
          <p:nvPr userDrawn="1"/>
        </p:nvCxnSpPr>
        <p:spPr>
          <a:xfrm>
            <a:off x="8283335" y="3949386"/>
            <a:ext cx="35020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AD35D86-9F03-4F21-846F-4B3FD53AAF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47830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9372A11D-8044-42A8-96E5-96061FB0373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283335" y="3649126"/>
            <a:ext cx="3502025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44FC560-52D1-45F4-B87B-033CFB6F42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831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(recht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6" y="0"/>
            <a:ext cx="4104000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DF48EB1-B7BD-4B42-A19D-74124CEF784D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98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073832"/>
            <a:ext cx="2520000" cy="3015562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A9FF1C4-9B29-4ED7-B76C-B79DE4B9E466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39" name="Fußzeilenplatzhalter 4">
            <a:extLst>
              <a:ext uri="{FF2B5EF4-FFF2-40B4-BE49-F238E27FC236}">
                <a16:creationId xmlns:a16="http://schemas.microsoft.com/office/drawing/2014/main" id="{9BCFA806-A6D8-46EC-8AF3-E69F071A92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140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E5648B1B-350F-4D71-BA77-8B10F843CEB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399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F2D7602C-0A5C-4C49-A4AD-B72E87B91DB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75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586AEB8D-209A-48F8-8F5F-ED1724A6107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12373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91C6D65C-D9EF-46E9-8F43-677F7B654AD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65360" y="1485904"/>
            <a:ext cx="2926640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3575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12373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9265360" y="3483908"/>
            <a:ext cx="2520000" cy="2605486"/>
          </a:xfrm>
        </p:spPr>
        <p:txBody>
          <a:bodyPr/>
          <a:lstStyle>
            <a:lvl1pPr marL="0" indent="0">
              <a:buNone/>
              <a:defRPr sz="11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100" b="0">
                <a:solidFill>
                  <a:schemeClr val="accent5"/>
                </a:solidFill>
                <a:latin typeface="+mn-lt"/>
              </a:defRPr>
            </a:lvl2pPr>
            <a:lvl3pPr>
              <a:defRPr sz="11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773E52D-83EC-4515-8828-0033BB0898AD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E97625A4-5A3B-423C-AE9C-B9A2B1EA46F4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D43FC934-1358-4214-8DBE-F04EDE2736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24DA3D94-0F22-44E8-919B-A48037FC3F2D}"/>
              </a:ext>
            </a:extLst>
          </p:cNvPr>
          <p:cNvCxnSpPr>
            <a:cxnSpLocks/>
          </p:cNvCxnSpPr>
          <p:nvPr userDrawn="1"/>
        </p:nvCxnSpPr>
        <p:spPr>
          <a:xfrm>
            <a:off x="3357560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94E8DEF1-2753-487D-B471-35AAD202B29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575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7BDEBA7A-0596-49C3-8A49-F8F2303938CF}"/>
              </a:ext>
            </a:extLst>
          </p:cNvPr>
          <p:cNvCxnSpPr>
            <a:cxnSpLocks/>
          </p:cNvCxnSpPr>
          <p:nvPr userDrawn="1"/>
        </p:nvCxnSpPr>
        <p:spPr>
          <a:xfrm>
            <a:off x="6318797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25F1ADDD-7089-4650-8320-CF8DAC704B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12373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DFE8F29F-E08F-48E3-B5EC-EE2D52534EE4}"/>
              </a:ext>
            </a:extLst>
          </p:cNvPr>
          <p:cNvCxnSpPr>
            <a:cxnSpLocks/>
          </p:cNvCxnSpPr>
          <p:nvPr userDrawn="1"/>
        </p:nvCxnSpPr>
        <p:spPr>
          <a:xfrm>
            <a:off x="9271784" y="3374092"/>
            <a:ext cx="25200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03155AA7-0ECC-485C-A577-E3ABCE9EAC4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65360" y="3073832"/>
            <a:ext cx="2526424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0" name="Fußzeilenplatzhalter 4">
            <a:extLst>
              <a:ext uri="{FF2B5EF4-FFF2-40B4-BE49-F238E27FC236}">
                <a16:creationId xmlns:a16="http://schemas.microsoft.com/office/drawing/2014/main" id="{63CFDAB4-1D03-42F9-BF41-31D2A27D9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005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B9024A5-9B62-449A-969A-775D0E210857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073832"/>
            <a:ext cx="2044700" cy="3015562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4" name="Fußzeilenplatzhalter 4">
            <a:extLst>
              <a:ext uri="{FF2B5EF4-FFF2-40B4-BE49-F238E27FC236}">
                <a16:creationId xmlns:a16="http://schemas.microsoft.com/office/drawing/2014/main" id="{B81B6104-B3FA-4FA5-A5C0-FB82843E5C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135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 &amp; BILD (Sub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9341561-936E-4E26-A81E-DBF8037BD7C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6399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D4F49617-327F-4338-AC52-29E4073112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1248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9788D531-35B2-4C8B-9205-556A96F49F4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36097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A575837A-20D4-4BFD-B09C-8CB8288A134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0946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3" name="Bildplatzhalter 2">
            <a:extLst>
              <a:ext uri="{FF2B5EF4-FFF2-40B4-BE49-F238E27FC236}">
                <a16:creationId xmlns:a16="http://schemas.microsoft.com/office/drawing/2014/main" id="{C05C861A-248E-42A5-B4F1-3B8CDE04B45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65795" y="1485904"/>
            <a:ext cx="2326205" cy="1417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DB4C41-1C32-44DC-A4B8-C89938143C59}"/>
              </a:ext>
            </a:extLst>
          </p:cNvPr>
          <p:cNvCxnSpPr/>
          <p:nvPr/>
        </p:nvCxnSpPr>
        <p:spPr>
          <a:xfrm flipV="1">
            <a:off x="29279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BAC2A6D-015C-494D-92BD-B4FD8F5FA29B}"/>
              </a:ext>
            </a:extLst>
          </p:cNvPr>
          <p:cNvCxnSpPr/>
          <p:nvPr/>
        </p:nvCxnSpPr>
        <p:spPr>
          <a:xfrm flipV="1">
            <a:off x="335978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8E0C73D-6D5C-42EC-AA93-EC6597BF3B10}"/>
              </a:ext>
            </a:extLst>
          </p:cNvPr>
          <p:cNvCxnSpPr/>
          <p:nvPr/>
        </p:nvCxnSpPr>
        <p:spPr>
          <a:xfrm flipV="1">
            <a:off x="5877560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F89B14-020D-40CB-A9F1-8E13CB8484AF}"/>
              </a:ext>
            </a:extLst>
          </p:cNvPr>
          <p:cNvCxnSpPr/>
          <p:nvPr/>
        </p:nvCxnSpPr>
        <p:spPr>
          <a:xfrm flipV="1">
            <a:off x="6312533" y="-212048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D1229B9-A284-4241-8204-FE6B33F077BA}"/>
              </a:ext>
            </a:extLst>
          </p:cNvPr>
          <p:cNvSpPr txBox="1"/>
          <p:nvPr userDrawn="1"/>
        </p:nvSpPr>
        <p:spPr>
          <a:xfrm>
            <a:off x="6360162" y="-197643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2CD30C3-8110-4792-957E-657FE79CE12D}"/>
              </a:ext>
            </a:extLst>
          </p:cNvPr>
          <p:cNvSpPr txBox="1"/>
          <p:nvPr/>
        </p:nvSpPr>
        <p:spPr>
          <a:xfrm>
            <a:off x="29756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BBAAD94-D77B-4959-9685-0013AEDCEE45}"/>
              </a:ext>
            </a:extLst>
          </p:cNvPr>
          <p:cNvSpPr txBox="1"/>
          <p:nvPr/>
        </p:nvSpPr>
        <p:spPr>
          <a:xfrm>
            <a:off x="340741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A4D0489D-23B2-440A-8955-04F49F05A404}"/>
              </a:ext>
            </a:extLst>
          </p:cNvPr>
          <p:cNvSpPr txBox="1"/>
          <p:nvPr/>
        </p:nvSpPr>
        <p:spPr>
          <a:xfrm>
            <a:off x="592519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0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F2B4357-9CC7-4778-B790-924FC938E6ED}"/>
              </a:ext>
            </a:extLst>
          </p:cNvPr>
          <p:cNvCxnSpPr/>
          <p:nvPr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3172D8B-36E7-46B4-916D-A4C57F2FFCA9}"/>
              </a:ext>
            </a:extLst>
          </p:cNvPr>
          <p:cNvCxnSpPr/>
          <p:nvPr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456474B-AF8C-40FE-8CB8-FF556FC3F4F3}"/>
              </a:ext>
            </a:extLst>
          </p:cNvPr>
          <p:cNvSpPr txBox="1"/>
          <p:nvPr/>
        </p:nvSpPr>
        <p:spPr>
          <a:xfrm>
            <a:off x="888111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7,61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FB5D1D1-D027-4FB8-A559-472AB7E2DD80}"/>
              </a:ext>
            </a:extLst>
          </p:cNvPr>
          <p:cNvSpPr txBox="1"/>
          <p:nvPr/>
        </p:nvSpPr>
        <p:spPr>
          <a:xfrm>
            <a:off x="93065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80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85A90AB2-B78A-4256-8CCF-9CE4D685518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06400" y="3483906"/>
            <a:ext cx="2044700" cy="2605487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6C59E5CB-49E8-406F-9FB8-EE2DCC9BC7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771248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B9795B59-364E-47A6-8872-AEC82EC6BA4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36097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A4D0AF55-4C72-4F7E-814B-B4E4DC1A0AC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500946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F1B0C756-BD82-49FF-9A2C-A8A9B048E859}"/>
              </a:ext>
            </a:extLst>
          </p:cNvPr>
          <p:cNvCxnSpPr/>
          <p:nvPr userDrawn="1"/>
        </p:nvCxnSpPr>
        <p:spPr>
          <a:xfrm flipV="1">
            <a:off x="883348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F32B280A-648C-40BF-AFC6-269335D157E8}"/>
              </a:ext>
            </a:extLst>
          </p:cNvPr>
          <p:cNvCxnSpPr/>
          <p:nvPr userDrawn="1"/>
        </p:nvCxnSpPr>
        <p:spPr>
          <a:xfrm flipV="1">
            <a:off x="92589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D9D6DBA-4CF2-49EB-B644-939BDFEA7136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CF3078-45BF-484D-BBA4-46D1AEF8F2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11A8345-C296-40FE-BC80-EAB24D976F4C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DAE92B18-D16F-4E6B-A272-768C366128F8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1DDD0EF-DA0F-425B-884B-820F28B5A31F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9865795" y="3483908"/>
            <a:ext cx="2044700" cy="2605486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accent5"/>
                </a:solidFill>
                <a:latin typeface="+mn-lt"/>
              </a:defRPr>
            </a:lvl1pPr>
            <a:lvl2pPr marL="179996" indent="-179996">
              <a:buFont typeface="Arial" panose="020B0604020202020204" pitchFamily="34" charset="0"/>
              <a:buChar char="•"/>
              <a:defRPr sz="1000" b="0">
                <a:solidFill>
                  <a:schemeClr val="accent5"/>
                </a:solidFill>
                <a:latin typeface="+mn-lt"/>
              </a:defRPr>
            </a:lvl2pPr>
            <a:lvl3pPr>
              <a:defRPr sz="1000" b="0">
                <a:solidFill>
                  <a:schemeClr val="accent5"/>
                </a:solidFill>
                <a:latin typeface="+mn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44C6034E-1095-4234-9399-D399460E9732}"/>
              </a:ext>
            </a:extLst>
          </p:cNvPr>
          <p:cNvCxnSpPr>
            <a:cxnSpLocks/>
          </p:cNvCxnSpPr>
          <p:nvPr userDrawn="1"/>
        </p:nvCxnSpPr>
        <p:spPr>
          <a:xfrm>
            <a:off x="412823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4004EE8F-339B-4D21-A15F-1D6F01E004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06399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12966438-6209-416F-86EE-3652A48B4BE7}"/>
              </a:ext>
            </a:extLst>
          </p:cNvPr>
          <p:cNvCxnSpPr>
            <a:cxnSpLocks/>
          </p:cNvCxnSpPr>
          <p:nvPr userDrawn="1"/>
        </p:nvCxnSpPr>
        <p:spPr>
          <a:xfrm>
            <a:off x="2777672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B3D3BE41-9CF5-4477-B03E-34A506757D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71248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2FAC5CCF-2ACD-4325-B00E-F7B0F7F8E0D8}"/>
              </a:ext>
            </a:extLst>
          </p:cNvPr>
          <p:cNvCxnSpPr>
            <a:cxnSpLocks/>
          </p:cNvCxnSpPr>
          <p:nvPr userDrawn="1"/>
        </p:nvCxnSpPr>
        <p:spPr>
          <a:xfrm>
            <a:off x="5142521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DCC5C85E-270E-4DE1-8E7D-F90EDBCC86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36097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4C78D541-9C26-406B-9B66-81D143BD409A}"/>
              </a:ext>
            </a:extLst>
          </p:cNvPr>
          <p:cNvCxnSpPr>
            <a:cxnSpLocks/>
          </p:cNvCxnSpPr>
          <p:nvPr userDrawn="1"/>
        </p:nvCxnSpPr>
        <p:spPr>
          <a:xfrm>
            <a:off x="7507370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platzhalter 2">
            <a:extLst>
              <a:ext uri="{FF2B5EF4-FFF2-40B4-BE49-F238E27FC236}">
                <a16:creationId xmlns:a16="http://schemas.microsoft.com/office/drawing/2014/main" id="{2CB431A5-A2A7-4AC7-A80C-70E64AF635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00946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4D52FC0B-DDB0-44B1-A213-8E594550E9E6}"/>
              </a:ext>
            </a:extLst>
          </p:cNvPr>
          <p:cNvCxnSpPr>
            <a:cxnSpLocks/>
          </p:cNvCxnSpPr>
          <p:nvPr userDrawn="1"/>
        </p:nvCxnSpPr>
        <p:spPr>
          <a:xfrm>
            <a:off x="9865795" y="3374092"/>
            <a:ext cx="2038276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B266D593-BF35-4950-B373-DC445CE60E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865795" y="3088964"/>
            <a:ext cx="2044700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sp>
        <p:nvSpPr>
          <p:cNvPr id="45" name="Fußzeilenplatzhalter 4">
            <a:extLst>
              <a:ext uri="{FF2B5EF4-FFF2-40B4-BE49-F238E27FC236}">
                <a16:creationId xmlns:a16="http://schemas.microsoft.com/office/drawing/2014/main" id="{440E778B-6264-4359-8C39-07DD055823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46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866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115">
          <p15:clr>
            <a:srgbClr val="FBAE40"/>
          </p15:clr>
        </p15:guide>
        <p15:guide id="6" pos="3705">
          <p15:clr>
            <a:srgbClr val="FBAE40"/>
          </p15:clr>
        </p15:guide>
        <p15:guide id="7" pos="3975">
          <p15:clr>
            <a:srgbClr val="FBAE40"/>
          </p15:clr>
        </p15:guide>
        <p15:guide id="10" pos="1844">
          <p15:clr>
            <a:srgbClr val="FBAE40"/>
          </p15:clr>
        </p15:guide>
        <p15:guide id="11" pos="5565">
          <p15:clr>
            <a:srgbClr val="FBAE40"/>
          </p15:clr>
        </p15:guide>
        <p15:guide id="12" pos="583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ILD (voll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52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Bildplatzhalter 195">
            <a:extLst>
              <a:ext uri="{FF2B5EF4-FFF2-40B4-BE49-F238E27FC236}">
                <a16:creationId xmlns:a16="http://schemas.microsoft.com/office/drawing/2014/main" id="{76960767-AF06-44E9-B11F-0CBFC915F9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0091913 w 12193200"/>
              <a:gd name="connsiteY1" fmla="*/ 0 h 6858000"/>
              <a:gd name="connsiteX2" fmla="*/ 10091913 w 12193200"/>
              <a:gd name="connsiteY2" fmla="*/ 666000 h 6858000"/>
              <a:gd name="connsiteX3" fmla="*/ 11787188 w 12193200"/>
              <a:gd name="connsiteY3" fmla="*/ 666000 h 6858000"/>
              <a:gd name="connsiteX4" fmla="*/ 11787188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0091913" y="0"/>
                </a:lnTo>
                <a:lnTo>
                  <a:pt x="10091913" y="666000"/>
                </a:lnTo>
                <a:lnTo>
                  <a:pt x="11787188" y="666000"/>
                </a:lnTo>
                <a:lnTo>
                  <a:pt x="11787188" y="0"/>
                </a:ln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cxnSp>
        <p:nvCxnSpPr>
          <p:cNvPr id="203" name="Gerader Verbinder 202">
            <a:extLst>
              <a:ext uri="{FF2B5EF4-FFF2-40B4-BE49-F238E27FC236}">
                <a16:creationId xmlns:a16="http://schemas.microsoft.com/office/drawing/2014/main" id="{FEC95853-4843-4ADB-96DB-8E49B1B46714}"/>
              </a:ext>
            </a:extLst>
          </p:cNvPr>
          <p:cNvCxnSpPr/>
          <p:nvPr userDrawn="1"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feld 203">
            <a:extLst>
              <a:ext uri="{FF2B5EF4-FFF2-40B4-BE49-F238E27FC236}">
                <a16:creationId xmlns:a16="http://schemas.microsoft.com/office/drawing/2014/main" id="{DDA755C6-DCE0-4EF3-948A-0821F9DC7601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205" name="Gerader Verbinder 204">
            <a:extLst>
              <a:ext uri="{FF2B5EF4-FFF2-40B4-BE49-F238E27FC236}">
                <a16:creationId xmlns:a16="http://schemas.microsoft.com/office/drawing/2014/main" id="{67432713-C861-46D8-826B-307A10ECAD6A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Gerader Verbinder 207">
            <a:extLst>
              <a:ext uri="{FF2B5EF4-FFF2-40B4-BE49-F238E27FC236}">
                <a16:creationId xmlns:a16="http://schemas.microsoft.com/office/drawing/2014/main" id="{C28C9DD7-E5C8-4BAC-8AE1-AD4778E709C8}"/>
              </a:ext>
            </a:extLst>
          </p:cNvPr>
          <p:cNvCxnSpPr/>
          <p:nvPr userDrawn="1"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feld 208">
            <a:extLst>
              <a:ext uri="{FF2B5EF4-FFF2-40B4-BE49-F238E27FC236}">
                <a16:creationId xmlns:a16="http://schemas.microsoft.com/office/drawing/2014/main" id="{E725183D-7D7A-4AA2-AD41-D4471B6120A9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97BCBAE2-197B-46AD-9D4D-9EE086A373EA}"/>
              </a:ext>
            </a:extLst>
          </p:cNvPr>
          <p:cNvCxnSpPr/>
          <p:nvPr userDrawn="1"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Textfeld 210">
            <a:extLst>
              <a:ext uri="{FF2B5EF4-FFF2-40B4-BE49-F238E27FC236}">
                <a16:creationId xmlns:a16="http://schemas.microsoft.com/office/drawing/2014/main" id="{96326A4F-B967-4496-B32A-E29A90A12FA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238A3C13-A461-4859-9D18-4DD4008290A3}"/>
              </a:ext>
            </a:extLst>
          </p:cNvPr>
          <p:cNvCxnSpPr/>
          <p:nvPr userDrawn="1"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Gerader Verbinder 212">
            <a:extLst>
              <a:ext uri="{FF2B5EF4-FFF2-40B4-BE49-F238E27FC236}">
                <a16:creationId xmlns:a16="http://schemas.microsoft.com/office/drawing/2014/main" id="{3968D5EC-73AA-4DC6-BD22-1C084503C800}"/>
              </a:ext>
            </a:extLst>
          </p:cNvPr>
          <p:cNvCxnSpPr/>
          <p:nvPr userDrawn="1"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feld 213">
            <a:extLst>
              <a:ext uri="{FF2B5EF4-FFF2-40B4-BE49-F238E27FC236}">
                <a16:creationId xmlns:a16="http://schemas.microsoft.com/office/drawing/2014/main" id="{F8601DFA-E37A-4DFA-9506-0CE7394F4F2C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215" name="Gerader Verbinder 214">
            <a:extLst>
              <a:ext uri="{FF2B5EF4-FFF2-40B4-BE49-F238E27FC236}">
                <a16:creationId xmlns:a16="http://schemas.microsoft.com/office/drawing/2014/main" id="{447C887B-C198-44B2-ADD2-C2F18DC4F9C1}"/>
              </a:ext>
            </a:extLst>
          </p:cNvPr>
          <p:cNvCxnSpPr/>
          <p:nvPr userDrawn="1"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feld 215">
            <a:extLst>
              <a:ext uri="{FF2B5EF4-FFF2-40B4-BE49-F238E27FC236}">
                <a16:creationId xmlns:a16="http://schemas.microsoft.com/office/drawing/2014/main" id="{C2C35829-34DB-4CFD-BA50-90D835E25397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217" name="Textfeld 216">
            <a:extLst>
              <a:ext uri="{FF2B5EF4-FFF2-40B4-BE49-F238E27FC236}">
                <a16:creationId xmlns:a16="http://schemas.microsoft.com/office/drawing/2014/main" id="{81BAC4C0-8F9F-4B46-AB6A-3C239DE0690B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218" name="Gerader Verbinder 217">
            <a:extLst>
              <a:ext uri="{FF2B5EF4-FFF2-40B4-BE49-F238E27FC236}">
                <a16:creationId xmlns:a16="http://schemas.microsoft.com/office/drawing/2014/main" id="{18161F9F-76F8-4B29-8FD3-A32B449FFCAB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feld 218">
            <a:extLst>
              <a:ext uri="{FF2B5EF4-FFF2-40B4-BE49-F238E27FC236}">
                <a16:creationId xmlns:a16="http://schemas.microsoft.com/office/drawing/2014/main" id="{653B8B26-8197-40F9-88F2-ED2830D0F9C3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220" name="Gerader Verbinder 219">
            <a:extLst>
              <a:ext uri="{FF2B5EF4-FFF2-40B4-BE49-F238E27FC236}">
                <a16:creationId xmlns:a16="http://schemas.microsoft.com/office/drawing/2014/main" id="{657D080F-B1A9-4BFC-8684-4C837D3C0974}"/>
              </a:ext>
            </a:extLst>
          </p:cNvPr>
          <p:cNvCxnSpPr/>
          <p:nvPr userDrawn="1"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feld 220">
            <a:extLst>
              <a:ext uri="{FF2B5EF4-FFF2-40B4-BE49-F238E27FC236}">
                <a16:creationId xmlns:a16="http://schemas.microsoft.com/office/drawing/2014/main" id="{18CF5C25-5087-49F5-9733-255904C6CEEC}"/>
              </a:ext>
            </a:extLst>
          </p:cNvPr>
          <p:cNvSpPr txBox="1"/>
          <p:nvPr userDrawn="1"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B9D47D14-A7FE-43D8-A7EA-B1B385AEBD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0" y="408271"/>
            <a:ext cx="7904163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28A2EE36-5349-4079-A5C3-D636345A8699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C3AACAF-E35C-4A6B-A967-323CBB71AF2D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33C85649-80F5-4E40-931B-1A9F0460C108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66864107-71E4-43F1-A342-170CC1B2D8F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3F6BE5CF-089F-42CB-B5A2-3B0EE9A5ACA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96747FBD-5B3B-4965-9750-EEDBCF2BB2A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8E845AE9-4ABC-49FD-B62F-61BC8110895F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7C27CF4D-206E-4D60-A604-328DF0F1E061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DA9FFF85-4C97-45CB-ACC7-44FEF5D2BD0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08CD3ED-A94F-4F62-9652-76EEF8E4E84C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4A64658B-3010-4274-A6A4-0EFBDC41E3F7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9B680B2D-2ACF-4FB8-A582-63CF8CCC01D5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42D7379E-7045-436D-BF01-42420E87EB1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B8A0E8B-16AA-428F-B82A-FAC5B70487A2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8BAAD20F-A966-4231-BC30-ADF12CA19737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780DA360-A62B-4B27-A08F-6C4E13FBD85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5E36B678-AC64-49B9-8460-47842985C596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5EEB0592-FE21-4292-98C2-465EE3180AE2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38FCC75-B451-4821-8BC1-FEE246B26903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C4053256-B918-4248-B826-4535BC04DE64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05BC3AC2-BC32-42B0-BB3D-98CFCC63ED8A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6A360A1-7642-44AC-BB66-A5F0B747C373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CEB1B2D-D440-4E67-9AA8-0847407DFFE7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F911F042-4938-463D-9E53-DE0B21AE37BD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CD2B508E-086A-4116-B0BC-35B1D157CBCA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B27216DB-3655-4046-A6B7-1B5A0E33C8FD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6407977E-8840-446C-B11F-7F6D377E58EB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47BDD7AE-E54F-41A7-BAD6-86059660AD4F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CB9A38ED-2707-47BA-B749-D2593DBC27D9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48925498-14E0-4691-BF77-1F86368891C3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5B8A1A5E-77AC-41D0-916F-C0A4311F8FCD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22.07.2022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8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70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Bildplatzhalter 28">
            <a:extLst>
              <a:ext uri="{FF2B5EF4-FFF2-40B4-BE49-F238E27FC236}">
                <a16:creationId xmlns:a16="http://schemas.microsoft.com/office/drawing/2014/main" id="{9FA64BF6-ADE3-46F0-883F-AC8ED60305B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6300" y="0"/>
            <a:ext cx="4105700" cy="6858000"/>
          </a:xfrm>
          <a:custGeom>
            <a:avLst/>
            <a:gdLst>
              <a:gd name="connsiteX0" fmla="*/ 0 w 4105700"/>
              <a:gd name="connsiteY0" fmla="*/ 0 h 6858000"/>
              <a:gd name="connsiteX1" fmla="*/ 2005613 w 4105700"/>
              <a:gd name="connsiteY1" fmla="*/ 0 h 6858000"/>
              <a:gd name="connsiteX2" fmla="*/ 2005613 w 4105700"/>
              <a:gd name="connsiteY2" fmla="*/ 666000 h 6858000"/>
              <a:gd name="connsiteX3" fmla="*/ 3700888 w 4105700"/>
              <a:gd name="connsiteY3" fmla="*/ 666000 h 6858000"/>
              <a:gd name="connsiteX4" fmla="*/ 3700888 w 4105700"/>
              <a:gd name="connsiteY4" fmla="*/ 0 h 6858000"/>
              <a:gd name="connsiteX5" fmla="*/ 4105700 w 4105700"/>
              <a:gd name="connsiteY5" fmla="*/ 0 h 6858000"/>
              <a:gd name="connsiteX6" fmla="*/ 4105700 w 4105700"/>
              <a:gd name="connsiteY6" fmla="*/ 6858000 h 6858000"/>
              <a:gd name="connsiteX7" fmla="*/ 0 w 41057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6858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0356348-8452-47BF-AF5E-74A29BCEEABF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31137538-B64E-40F9-BBFF-743EAF9BC54F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7" name="Rechteck 118">
                <a:extLst>
                  <a:ext uri="{FF2B5EF4-FFF2-40B4-BE49-F238E27FC236}">
                    <a16:creationId xmlns:a16="http://schemas.microsoft.com/office/drawing/2014/main" id="{C7797C46-647F-47B3-A486-E0188C687433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C8ECAD5A-F604-460E-9EF6-F214EBA3AA03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59" name="Grafik 58">
                  <a:extLst>
                    <a:ext uri="{FF2B5EF4-FFF2-40B4-BE49-F238E27FC236}">
                      <a16:creationId xmlns:a16="http://schemas.microsoft.com/office/drawing/2014/main" id="{BAE84AE1-C556-45DB-867F-7B2B4CFA605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2F2EE5CD-A7C8-49C7-AB20-31C5C35C35A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AF1AAA54-47FA-47D3-ABE0-450E1FB596B7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1A718135-A244-4067-966C-FD2AE961CE6B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B5FC204-43AA-448D-A20A-5DD4A179B3F5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D4F72441-E384-48A0-943E-3C97C11149B0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80743378-DCAA-4416-A68B-EA7D7CAF9C88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E75565CC-8AF8-4B41-ADF3-37300678C59F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ED563E37-E5F1-4F05-B141-98E88D194914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6AF85940-8847-4A20-86D9-D138DE1D635E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96FC608A-11D0-4F69-AA4C-023E383A4713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34D3DC25-5F12-4B9B-BC49-8ABD9918973C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512BC645-5823-4857-9536-153EA70DB218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0284A346-034A-40F3-821D-53F90C4EA2C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CB9959A-6447-4951-9FC5-851D815DFE0E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1BF9DA76-6215-4468-AD59-7B06EEC5827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C050D38-ECE1-4447-916B-A60D90C5AE0B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199BB32C-E58C-40F1-8121-0FAABBEF3D12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513A45CC-36FB-4104-881C-CD0191CF3B5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C685568-4B73-4B57-AACA-2F68F971939B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55E72395-E9D2-4B57-9D22-AD04C1E3ACAE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6FF4EBE7-EF70-415F-9784-7BD8078CD76B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3949DF09-DDE3-472F-B0AE-A36120DC04BA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31D559E8-43B0-41AB-849F-6E21BEAE3BFA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5358FFE-E70D-46EC-BAA4-8D800220C47B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34E22D22-B507-46DD-BC7C-D89917DBDE9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F5D254-1319-42EF-BA1B-5F0A133986D9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2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3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4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22.07.2022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38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4CBF789D-66D4-4487-9E80-27FF2CC252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6300" y="0"/>
            <a:ext cx="4105700" cy="3429000"/>
          </a:xfrm>
          <a:custGeom>
            <a:avLst/>
            <a:gdLst>
              <a:gd name="connsiteX0" fmla="*/ 0 w 4105700"/>
              <a:gd name="connsiteY0" fmla="*/ 0 h 3429000"/>
              <a:gd name="connsiteX1" fmla="*/ 2005613 w 4105700"/>
              <a:gd name="connsiteY1" fmla="*/ 0 h 3429000"/>
              <a:gd name="connsiteX2" fmla="*/ 2005613 w 4105700"/>
              <a:gd name="connsiteY2" fmla="*/ 666000 h 3429000"/>
              <a:gd name="connsiteX3" fmla="*/ 3700888 w 4105700"/>
              <a:gd name="connsiteY3" fmla="*/ 666000 h 3429000"/>
              <a:gd name="connsiteX4" fmla="*/ 3700888 w 4105700"/>
              <a:gd name="connsiteY4" fmla="*/ 0 h 3429000"/>
              <a:gd name="connsiteX5" fmla="*/ 4105700 w 4105700"/>
              <a:gd name="connsiteY5" fmla="*/ 0 h 3429000"/>
              <a:gd name="connsiteX6" fmla="*/ 4105700 w 4105700"/>
              <a:gd name="connsiteY6" fmla="*/ 3429000 h 3429000"/>
              <a:gd name="connsiteX7" fmla="*/ 0 w 4105700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05700" h="3429000">
                <a:moveTo>
                  <a:pt x="0" y="0"/>
                </a:moveTo>
                <a:lnTo>
                  <a:pt x="2005613" y="0"/>
                </a:lnTo>
                <a:lnTo>
                  <a:pt x="2005613" y="666000"/>
                </a:lnTo>
                <a:lnTo>
                  <a:pt x="3700888" y="666000"/>
                </a:lnTo>
                <a:lnTo>
                  <a:pt x="3700888" y="0"/>
                </a:lnTo>
                <a:lnTo>
                  <a:pt x="4105700" y="0"/>
                </a:lnTo>
                <a:lnTo>
                  <a:pt x="4105700" y="3429000"/>
                </a:lnTo>
                <a:lnTo>
                  <a:pt x="0" y="3429000"/>
                </a:lnTo>
                <a:close/>
              </a:path>
            </a:pathLst>
          </a:custGeo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5">
            <a:extLst>
              <a:ext uri="{FF2B5EF4-FFF2-40B4-BE49-F238E27FC236}">
                <a16:creationId xmlns:a16="http://schemas.microsoft.com/office/drawing/2014/main" id="{4D5CBA8E-21B0-4478-A424-56FE09CD72B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6301" y="3452812"/>
            <a:ext cx="4105700" cy="34051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1D15A05-928E-4685-8891-8962526BB6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6767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9FF5A0D-607B-4FB4-904A-B66C168F2BD7}"/>
              </a:ext>
            </a:extLst>
          </p:cNvPr>
          <p:cNvCxnSpPr/>
          <p:nvPr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58DA77F-DBE3-4099-9031-64607C78AC50}"/>
              </a:ext>
            </a:extLst>
          </p:cNvPr>
          <p:cNvSpPr txBox="1"/>
          <p:nvPr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43A8FFBB-3EE0-40D8-95D4-E1D66088B89B}"/>
              </a:ext>
            </a:extLst>
          </p:cNvPr>
          <p:cNvCxnSpPr/>
          <p:nvPr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3F6F6341-9A30-4ECF-96A6-4B1B82A3FA4A}"/>
              </a:ext>
            </a:extLst>
          </p:cNvPr>
          <p:cNvSpPr txBox="1"/>
          <p:nvPr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1A967AB-752F-4F44-AEE4-9BBEC1F708F9}"/>
              </a:ext>
            </a:extLst>
          </p:cNvPr>
          <p:cNvCxnSpPr/>
          <p:nvPr userDrawn="1"/>
        </p:nvCxnSpPr>
        <p:spPr>
          <a:xfrm flipV="1">
            <a:off x="63950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56751C9-CBDD-4BAF-9346-4380214F7E53}"/>
              </a:ext>
            </a:extLst>
          </p:cNvPr>
          <p:cNvSpPr txBox="1"/>
          <p:nvPr userDrawn="1"/>
        </p:nvSpPr>
        <p:spPr>
          <a:xfrm>
            <a:off x="644271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CFE13429-9F9D-45B2-BA0E-BB9B22C1FD85}"/>
              </a:ext>
            </a:extLst>
          </p:cNvPr>
          <p:cNvCxnSpPr/>
          <p:nvPr userDrawn="1"/>
        </p:nvCxnSpPr>
        <p:spPr>
          <a:xfrm flipV="1">
            <a:off x="5798185" y="-226337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635B5F51-1C15-44BC-9146-7CC90294E400}"/>
              </a:ext>
            </a:extLst>
          </p:cNvPr>
          <p:cNvSpPr txBox="1"/>
          <p:nvPr userDrawn="1"/>
        </p:nvSpPr>
        <p:spPr>
          <a:xfrm>
            <a:off x="555688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0,62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33CC7FE-1D3F-47A2-833A-0A69909E8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401" y="408271"/>
            <a:ext cx="7199086" cy="269848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 sz="1000" b="0" i="0" spc="300" dirty="0">
                <a:solidFill>
                  <a:schemeClr val="bg1"/>
                </a:solidFill>
                <a:latin typeface="VWAG TheSans" panose="020B0502050302020203" pitchFamily="34" charset="0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VOLKSWAGEN GROUP SERVICES GMBH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03E5DD3-56E5-491C-9BE3-FFF147FFF3FE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F92D4512-6437-405C-98F4-63D4DB248497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59" name="Rechteck 118">
                <a:extLst>
                  <a:ext uri="{FF2B5EF4-FFF2-40B4-BE49-F238E27FC236}">
                    <a16:creationId xmlns:a16="http://schemas.microsoft.com/office/drawing/2014/main" id="{F1461968-E3C9-478D-8155-F2C53D383621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70AE664A-4868-4F45-98A3-3B8B0AC32901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9E630A0B-8539-4B00-A7D7-6DF12D97545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62" name="Grafik 61">
                  <a:extLst>
                    <a:ext uri="{FF2B5EF4-FFF2-40B4-BE49-F238E27FC236}">
                      <a16:creationId xmlns:a16="http://schemas.microsoft.com/office/drawing/2014/main" id="{072FD8CB-A473-4774-86A2-9A58062C2C2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8EC73C4F-934B-42A3-BFF6-A3B41286E01E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EB620D16-1AF7-46F2-9159-CE1FDD52FE0E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9C8B662-B1E5-4656-ABB0-11E0484A09CD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83AE3BA-C6CE-4C22-BB7E-258A839B001D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068AC547-A4C8-47F9-8BB6-DA98357E696F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87D19243-2766-4C4F-9095-EA19F0A183B6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62E83E1D-570F-412D-A6EA-84E7BF25AE4D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53C5C4D9-4D61-4385-B9D3-710D3B561C9D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B435673F-CCB0-4245-83C7-1953554C0FA2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A088CFAC-59A8-4230-9441-A0BE66F842ED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FBF7992E-E82F-41AD-B6ED-B7AB705134C1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4674605-016E-4E0C-800E-1A1576038E2F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F4FE1CBA-E587-49DB-BE64-C4425F42662F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AA792124-9B75-4CF1-9D3F-4215A6133853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8CCC237C-95A3-4674-AECD-0E7529AAB7C7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E4182E0C-61CB-4F77-B2EB-110B1CD6BDB5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6FF67BF3-BBB6-4AF9-A3DD-4F0AC8DFF7D2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DBE475A4-4713-491C-915B-266B0F9FB732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7D6FFCC1-94A5-4C0D-88CF-AB2017CEAAF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D203231C-6A64-4BA7-A3AC-639517A8CCBE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4D8C35BF-EA6F-4164-921F-858F0DFFC431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DA271A7A-2975-4140-94F2-BE9A942EE627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51C7F7D8-5C63-4A45-9E1F-0BBE66BFF5BA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B4FCECD-BC81-4F5B-AECE-5B697DDA4739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7775E513-A37D-4A42-9991-10379C4197F0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63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72000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4" name="Foliennummernplatzhalter 5">
            <a:extLst>
              <a:ext uri="{FF2B5EF4-FFF2-40B4-BE49-F238E27FC236}">
                <a16:creationId xmlns:a16="http://schemas.microsoft.com/office/drawing/2014/main" id="{0DF02411-CEEA-448F-8A04-23268BBF8B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91912" y="6704812"/>
            <a:ext cx="295276" cy="904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5" name="Fußzeilenplatzhalter 4">
            <a:extLst>
              <a:ext uri="{FF2B5EF4-FFF2-40B4-BE49-F238E27FC236}">
                <a16:creationId xmlns:a16="http://schemas.microsoft.com/office/drawing/2014/main" id="{78F62141-E5E1-4B42-B52D-2B73775E7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</a:p>
        </p:txBody>
      </p:sp>
      <p:sp>
        <p:nvSpPr>
          <p:cNvPr id="66" name="Datumsplatzhalter 2">
            <a:extLst>
              <a:ext uri="{FF2B5EF4-FFF2-40B4-BE49-F238E27FC236}">
                <a16:creationId xmlns:a16="http://schemas.microsoft.com/office/drawing/2014/main" id="{038103AD-A48A-4767-9A55-C5FA65380F87}"/>
              </a:ext>
            </a:extLst>
          </p:cNvPr>
          <p:cNvSpPr txBox="1">
            <a:spLocks/>
          </p:cNvSpPr>
          <p:nvPr userDrawn="1"/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9D6DBA-4CF2-49EB-B644-939BDFEA7136}" type="datetime1">
              <a:rPr lang="de-DE" smtClean="0">
                <a:solidFill>
                  <a:schemeClr val="bg1"/>
                </a:solidFill>
              </a:rPr>
              <a:pPr/>
              <a:t>22.07.2022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18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021">
          <p15:clr>
            <a:srgbClr val="FBAE40"/>
          </p15:clr>
        </p15:guide>
        <p15:guide id="5" pos="273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64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15407C8-6249-4C74-89A7-A35D3A2AF172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3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4063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49209395-3EDF-4713-9154-A42181D0EC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55300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4D0367C-8594-4CCE-BA62-988A174B8C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55299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31940070-E397-454F-901C-BEFCF09B51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55299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EA91ED22-D9A8-44F5-86CA-1B7C80D4E2D5}"/>
              </a:ext>
            </a:extLst>
          </p:cNvPr>
          <p:cNvCxnSpPr>
            <a:cxnSpLocks/>
          </p:cNvCxnSpPr>
          <p:nvPr userDrawn="1"/>
        </p:nvCxnSpPr>
        <p:spPr>
          <a:xfrm>
            <a:off x="4355299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42CFA091-7060-4022-8AC2-62DF1636A0A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04436" y="4123024"/>
            <a:ext cx="2952750" cy="199443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400" b="0" smtClean="0">
                <a:solidFill>
                  <a:schemeClr val="accent5"/>
                </a:solidFill>
              </a:defRPr>
            </a:lvl1pPr>
            <a:lvl2pPr>
              <a:defRPr lang="de-DE" sz="1400" b="0" smtClean="0">
                <a:solidFill>
                  <a:schemeClr val="accent5"/>
                </a:solidFill>
              </a:defRPr>
            </a:lvl2pPr>
            <a:lvl3pPr>
              <a:defRPr lang="de-DE" sz="14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3" name="Bildplatzhalter 4">
            <a:extLst>
              <a:ext uri="{FF2B5EF4-FFF2-40B4-BE49-F238E27FC236}">
                <a16:creationId xmlns:a16="http://schemas.microsoft.com/office/drawing/2014/main" id="{8E369D1C-21C2-4974-B81D-FF5893A2308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304435" y="1460500"/>
            <a:ext cx="1594237" cy="19685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8C15C42A-4446-45F7-BFF9-8241B2BE8C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04435" y="372706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6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54D99BE-2287-49A3-8248-1A1070F30A54}"/>
              </a:ext>
            </a:extLst>
          </p:cNvPr>
          <p:cNvCxnSpPr>
            <a:cxnSpLocks/>
          </p:cNvCxnSpPr>
          <p:nvPr userDrawn="1"/>
        </p:nvCxnSpPr>
        <p:spPr>
          <a:xfrm>
            <a:off x="8304435" y="402732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BF50A8DD-7390-4E9F-AEAE-CA98284A90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399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399" y="1460500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60676" y="1890784"/>
            <a:ext cx="2952750" cy="1538207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098FFCE-8EF1-4FAC-AB56-C90EF7E4AA3B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60675" y="1494820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2560675" y="1795080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platzhalter 5">
            <a:extLst>
              <a:ext uri="{FF2B5EF4-FFF2-40B4-BE49-F238E27FC236}">
                <a16:creationId xmlns:a16="http://schemas.microsoft.com/office/drawing/2014/main" id="{1801A2F9-AE10-4295-947E-5AA471E7D7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60676" y="4384889"/>
            <a:ext cx="2952750" cy="157251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4" name="Bildplatzhalter 4">
            <a:extLst>
              <a:ext uri="{FF2B5EF4-FFF2-40B4-BE49-F238E27FC236}">
                <a16:creationId xmlns:a16="http://schemas.microsoft.com/office/drawing/2014/main" id="{6AD8862C-CAB3-4C9A-8975-F18F446037C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06399" y="3988925"/>
            <a:ext cx="1594237" cy="196848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02E6D44F-61AF-487E-AB21-D68A8183D0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60675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AAD856E2-9FB2-4BE0-A270-7474C1E05770}"/>
              </a:ext>
            </a:extLst>
          </p:cNvPr>
          <p:cNvCxnSpPr>
            <a:cxnSpLocks/>
          </p:cNvCxnSpPr>
          <p:nvPr userDrawn="1"/>
        </p:nvCxnSpPr>
        <p:spPr>
          <a:xfrm>
            <a:off x="2560675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platzhalter 5">
            <a:extLst>
              <a:ext uri="{FF2B5EF4-FFF2-40B4-BE49-F238E27FC236}">
                <a16:creationId xmlns:a16="http://schemas.microsoft.com/office/drawing/2014/main" id="{4DDF44BA-9DF4-4248-AEC7-16084FDD9AD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54789" y="1856441"/>
            <a:ext cx="2952750" cy="1572523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79" name="Bildplatzhalter 4">
            <a:extLst>
              <a:ext uri="{FF2B5EF4-FFF2-40B4-BE49-F238E27FC236}">
                <a16:creationId xmlns:a16="http://schemas.microsoft.com/office/drawing/2014/main" id="{29698B73-4522-4F62-9EF3-D47650F8700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300512" y="1460495"/>
            <a:ext cx="1594237" cy="1968487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EB7DF9EA-0066-491D-975D-43B6B17EA3C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54788" y="1460477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52AAA5E0-AC27-4EB7-8286-8BA1A2068B34}"/>
              </a:ext>
            </a:extLst>
          </p:cNvPr>
          <p:cNvCxnSpPr>
            <a:cxnSpLocks/>
          </p:cNvCxnSpPr>
          <p:nvPr userDrawn="1"/>
        </p:nvCxnSpPr>
        <p:spPr>
          <a:xfrm>
            <a:off x="8454788" y="1760737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platzhalter 5">
            <a:extLst>
              <a:ext uri="{FF2B5EF4-FFF2-40B4-BE49-F238E27FC236}">
                <a16:creationId xmlns:a16="http://schemas.microsoft.com/office/drawing/2014/main" id="{0B0EEDB1-EC2D-4B51-A87E-5587D01FC6A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454789" y="4384889"/>
            <a:ext cx="2952750" cy="1572485"/>
          </a:xfrm>
        </p:spPr>
        <p:txBody>
          <a:bodyPr vert="horz" lIns="0" tIns="0" rIns="0" bIns="0" rtlCol="0">
            <a:noAutofit/>
          </a:bodyPr>
          <a:lstStyle>
            <a:lvl1pPr>
              <a:defRPr lang="de-DE" sz="1200" b="0" smtClean="0">
                <a:solidFill>
                  <a:schemeClr val="accent5"/>
                </a:solidFill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84" name="Bildplatzhalter 4">
            <a:extLst>
              <a:ext uri="{FF2B5EF4-FFF2-40B4-BE49-F238E27FC236}">
                <a16:creationId xmlns:a16="http://schemas.microsoft.com/office/drawing/2014/main" id="{9B7813C5-6F01-439E-93A8-D30A35F4D69A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300512" y="3988925"/>
            <a:ext cx="1594237" cy="1968472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7ADBCA2E-D367-4AAF-BCD1-50A3E4FFDAE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54788" y="3988925"/>
            <a:ext cx="2952986" cy="204864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4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EE918F0-0567-40D1-9AC8-6CD1A039B777}"/>
              </a:ext>
            </a:extLst>
          </p:cNvPr>
          <p:cNvCxnSpPr>
            <a:cxnSpLocks/>
          </p:cNvCxnSpPr>
          <p:nvPr userDrawn="1"/>
        </p:nvCxnSpPr>
        <p:spPr>
          <a:xfrm>
            <a:off x="8454788" y="4289185"/>
            <a:ext cx="295298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ußzeilenplatzhalter 4">
            <a:extLst>
              <a:ext uri="{FF2B5EF4-FFF2-40B4-BE49-F238E27FC236}">
                <a16:creationId xmlns:a16="http://schemas.microsoft.com/office/drawing/2014/main" id="{89A686FF-86BA-4001-88A1-4BE0E454BA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2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89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6DE515-EA33-42D1-A0CF-670B2050369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34764" y="2054407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EA3D72FA-ACE2-4B2F-8DF0-3BDD72B077F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06400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E6853AE-C5E9-42F2-B260-1F8C5AB49464}"/>
              </a:ext>
            </a:extLst>
          </p:cNvPr>
          <p:cNvCxnSpPr/>
          <p:nvPr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E242A85-233B-497B-95FF-256174DD2A3A}"/>
              </a:ext>
            </a:extLst>
          </p:cNvPr>
          <p:cNvCxnSpPr/>
          <p:nvPr/>
        </p:nvCxnSpPr>
        <p:spPr>
          <a:xfrm flipV="1">
            <a:off x="390667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107DD68-87BE-43E5-8362-4F98FCFF8477}"/>
              </a:ext>
            </a:extLst>
          </p:cNvPr>
          <p:cNvCxnSpPr/>
          <p:nvPr/>
        </p:nvCxnSpPr>
        <p:spPr>
          <a:xfrm flipV="1">
            <a:off x="78471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C7E53C8-4424-400D-ACF2-DF6B873F5B5B}"/>
              </a:ext>
            </a:extLst>
          </p:cNvPr>
          <p:cNvCxnSpPr/>
          <p:nvPr/>
        </p:nvCxnSpPr>
        <p:spPr>
          <a:xfrm flipV="1">
            <a:off x="828050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0E4A4F9D-A4F0-4778-915F-9C798CD2F19A}"/>
              </a:ext>
            </a:extLst>
          </p:cNvPr>
          <p:cNvSpPr txBox="1"/>
          <p:nvPr/>
        </p:nvSpPr>
        <p:spPr>
          <a:xfrm>
            <a:off x="4391661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F99D9F-77FC-4233-928B-83EF854A6EE1}"/>
              </a:ext>
            </a:extLst>
          </p:cNvPr>
          <p:cNvSpPr txBox="1"/>
          <p:nvPr/>
        </p:nvSpPr>
        <p:spPr>
          <a:xfrm>
            <a:off x="8328137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84DDAFA-6CE3-46DC-910C-E8A23788DAA7}"/>
              </a:ext>
            </a:extLst>
          </p:cNvPr>
          <p:cNvCxnSpPr/>
          <p:nvPr userDrawn="1"/>
        </p:nvCxnSpPr>
        <p:spPr>
          <a:xfrm flipV="1">
            <a:off x="4344035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281EE-20F0-4A3F-91A6-2986F21BB8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0343DE-EA50-46AA-A7B8-187A6C1B765D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BC3830-475B-455C-B055-71FA1262A2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B4E34D1D-FA14-47E7-AE97-CC7CFC4339BA}"/>
              </a:ext>
            </a:extLst>
          </p:cNvPr>
          <p:cNvSpPr txBox="1"/>
          <p:nvPr userDrawn="1"/>
        </p:nvSpPr>
        <p:spPr>
          <a:xfrm>
            <a:off x="395430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08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DD05060-C551-4EEA-9B65-7409CB0B6374}"/>
              </a:ext>
            </a:extLst>
          </p:cNvPr>
          <p:cNvSpPr txBox="1"/>
          <p:nvPr userDrawn="1"/>
        </p:nvSpPr>
        <p:spPr>
          <a:xfrm>
            <a:off x="7894749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4,87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361D8E7-61B8-4B00-AF74-50A80D813A4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34764" y="1673574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149A74-5C7C-449B-A637-6C9C9879A307}"/>
              </a:ext>
            </a:extLst>
          </p:cNvPr>
          <p:cNvCxnSpPr>
            <a:cxnSpLocks/>
          </p:cNvCxnSpPr>
          <p:nvPr userDrawn="1"/>
        </p:nvCxnSpPr>
        <p:spPr>
          <a:xfrm>
            <a:off x="1934764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5">
            <a:extLst>
              <a:ext uri="{FF2B5EF4-FFF2-40B4-BE49-F238E27FC236}">
                <a16:creationId xmlns:a16="http://schemas.microsoft.com/office/drawing/2014/main" id="{11D4BEA1-CCA9-440F-B347-B79C2946379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934764" y="4378415"/>
            <a:ext cx="197168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4" name="Bildplatzhalter 4">
            <a:extLst>
              <a:ext uri="{FF2B5EF4-FFF2-40B4-BE49-F238E27FC236}">
                <a16:creationId xmlns:a16="http://schemas.microsoft.com/office/drawing/2014/main" id="{18FEB24C-4B62-46CB-BD87-3DF36DBA9B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06400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03B9619D-D9A6-423D-8902-BF64115809D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34764" y="3997582"/>
            <a:ext cx="1971845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33830832-1E66-44A3-A050-71B34E270FE3}"/>
              </a:ext>
            </a:extLst>
          </p:cNvPr>
          <p:cNvCxnSpPr>
            <a:cxnSpLocks/>
          </p:cNvCxnSpPr>
          <p:nvPr userDrawn="1"/>
        </p:nvCxnSpPr>
        <p:spPr>
          <a:xfrm>
            <a:off x="1934764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8DF61B39-7705-436C-995E-D73C50941D7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836336" y="2054407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49" name="Bildplatzhalter 4">
            <a:extLst>
              <a:ext uri="{FF2B5EF4-FFF2-40B4-BE49-F238E27FC236}">
                <a16:creationId xmlns:a16="http://schemas.microsoft.com/office/drawing/2014/main" id="{2D5824B6-8551-4C3D-9DCB-4357506F378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312851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79604D05-636A-4E2D-8F8B-2957C89BB2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36335" y="1673574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487C0D64-F0B1-4F56-A1CC-1B700080E7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5">
            <a:extLst>
              <a:ext uri="{FF2B5EF4-FFF2-40B4-BE49-F238E27FC236}">
                <a16:creationId xmlns:a16="http://schemas.microsoft.com/office/drawing/2014/main" id="{075E9E59-F532-4EB1-BECB-50CD557CFF0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836336" y="4378415"/>
            <a:ext cx="2009570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4" name="Bildplatzhalter 4">
            <a:extLst>
              <a:ext uri="{FF2B5EF4-FFF2-40B4-BE49-F238E27FC236}">
                <a16:creationId xmlns:a16="http://schemas.microsoft.com/office/drawing/2014/main" id="{CE37886F-899F-4BF0-AD8D-2198EE2AEE9D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312851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87738AE3-3E8F-4467-AE3E-AC8BD88FA1A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36335" y="3997582"/>
            <a:ext cx="200973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DF3FC499-297D-4F15-A138-873842C6B9F0}"/>
              </a:ext>
            </a:extLst>
          </p:cNvPr>
          <p:cNvCxnSpPr>
            <a:cxnSpLocks/>
          </p:cNvCxnSpPr>
          <p:nvPr userDrawn="1"/>
        </p:nvCxnSpPr>
        <p:spPr>
          <a:xfrm>
            <a:off x="5836335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FB28049D-272D-49DE-9FBE-4DF92CCA810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737907" y="2054407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59" name="Bildplatzhalter 4">
            <a:extLst>
              <a:ext uri="{FF2B5EF4-FFF2-40B4-BE49-F238E27FC236}">
                <a16:creationId xmlns:a16="http://schemas.microsoft.com/office/drawing/2014/main" id="{D682A3F0-50D3-42C0-A6E3-D6E4CC203BBA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83194" y="1658443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0C08F614-2297-4C8E-9F39-542DAC2C3A3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737907" y="1673574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5A5A6A22-EF5B-4E6D-87EF-0B40AD853A92}"/>
              </a:ext>
            </a:extLst>
          </p:cNvPr>
          <p:cNvCxnSpPr>
            <a:cxnSpLocks/>
          </p:cNvCxnSpPr>
          <p:nvPr userDrawn="1"/>
        </p:nvCxnSpPr>
        <p:spPr>
          <a:xfrm>
            <a:off x="9737907" y="1958702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platzhalter 5">
            <a:extLst>
              <a:ext uri="{FF2B5EF4-FFF2-40B4-BE49-F238E27FC236}">
                <a16:creationId xmlns:a16="http://schemas.microsoft.com/office/drawing/2014/main" id="{E0BA77E0-9FCA-4C3C-8959-6A4AADC0650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737907" y="4378415"/>
            <a:ext cx="2045477" cy="1374594"/>
          </a:xfrm>
        </p:spPr>
        <p:txBody>
          <a:bodyPr vert="horz" lIns="0" tIns="0" rIns="0" bIns="0" rtlCol="0">
            <a:noAutofit/>
          </a:bodyPr>
          <a:lstStyle>
            <a:lvl1pPr>
              <a:defRPr lang="de-DE" sz="1100" b="0" smtClean="0">
                <a:solidFill>
                  <a:schemeClr val="accent5"/>
                </a:solidFill>
              </a:defRPr>
            </a:lvl1pPr>
            <a:lvl2pPr>
              <a:defRPr lang="de-DE" sz="1100" b="0" smtClean="0">
                <a:solidFill>
                  <a:schemeClr val="accent5"/>
                </a:solidFill>
              </a:defRPr>
            </a:lvl2pPr>
            <a:lvl3pPr>
              <a:defRPr lang="de-DE" sz="11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65" name="Bildplatzhalter 4">
            <a:extLst>
              <a:ext uri="{FF2B5EF4-FFF2-40B4-BE49-F238E27FC236}">
                <a16:creationId xmlns:a16="http://schemas.microsoft.com/office/drawing/2014/main" id="{0655D295-9CEF-4DF8-BF9F-8F7F4F586D17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8283194" y="3982451"/>
            <a:ext cx="1303929" cy="1770553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600181C3-BBB6-4E4E-BDB0-6913430DEFB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737907" y="3997582"/>
            <a:ext cx="2045641" cy="189732"/>
          </a:xfr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1500"/>
              </a:lnSpc>
              <a:spcAft>
                <a:spcPts val="0"/>
              </a:spcAft>
              <a:buNone/>
              <a:defRPr lang="de-DE" sz="1200" b="1" kern="1200" dirty="0" smtClean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2pPr>
            <a:lvl3pPr>
              <a:defRPr lang="de-DE" sz="1200" b="0" smtClean="0">
                <a:solidFill>
                  <a:schemeClr val="accent5"/>
                </a:solidFill>
                <a:latin typeface="VWAG TheSans Light" panose="020B0302050302020203" pitchFamily="34" charset="0"/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285750" lvl="0" indent="-285750"/>
            <a:r>
              <a:rPr lang="de-DE" dirty="0"/>
              <a:t>Titelformat bearbeiten</a:t>
            </a:r>
          </a:p>
        </p:txBody>
      </p: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9688FE8E-221C-4F74-A0A1-5A74D3DF21AC}"/>
              </a:ext>
            </a:extLst>
          </p:cNvPr>
          <p:cNvCxnSpPr>
            <a:cxnSpLocks/>
          </p:cNvCxnSpPr>
          <p:nvPr userDrawn="1"/>
        </p:nvCxnSpPr>
        <p:spPr>
          <a:xfrm>
            <a:off x="9737907" y="4282710"/>
            <a:ext cx="176066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F87B24DA-1B95-4449-8E94-3DFB34D6AB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3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63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462">
          <p15:clr>
            <a:srgbClr val="FBAE40"/>
          </p15:clr>
        </p15:guide>
        <p15:guide id="6" pos="4944">
          <p15:clr>
            <a:srgbClr val="FBAE40"/>
          </p15:clr>
        </p15:guide>
        <p15:guide id="7" pos="5216">
          <p15:clr>
            <a:srgbClr val="FBAE40"/>
          </p15:clr>
        </p15:guide>
        <p15:guide id="8" pos="27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(rechts &amp; transparen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62FE5C8-D95F-410A-8D9E-4B26A2E2DA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-20585" y="0"/>
            <a:ext cx="12212585" cy="685800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de-DE" dirty="0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 dirty="0"/>
              <a:t>Fügen Sie über das Icon ein Bild </a:t>
            </a:r>
            <a:br>
              <a:rPr lang="de-DE" dirty="0"/>
            </a:br>
            <a:r>
              <a:rPr lang="de-DE" dirty="0"/>
              <a:t>ein 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13ECE31-DFDB-40C0-9060-42F7D7A3D01E}"/>
              </a:ext>
            </a:extLst>
          </p:cNvPr>
          <p:cNvSpPr/>
          <p:nvPr userDrawn="1"/>
        </p:nvSpPr>
        <p:spPr bwMode="gray">
          <a:xfrm>
            <a:off x="4083414" y="0"/>
            <a:ext cx="8108586" cy="6858000"/>
          </a:xfrm>
          <a:prstGeom prst="rect">
            <a:avLst/>
          </a:prstGeom>
          <a:solidFill>
            <a:schemeClr val="accent5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01328" y="2388181"/>
            <a:ext cx="7181891" cy="1337578"/>
          </a:xfrm>
          <a:prstGeom prst="rect">
            <a:avLst/>
          </a:prstGeom>
          <a:noFill/>
        </p:spPr>
        <p:txBody>
          <a:bodyPr wrap="square" lIns="216000" tIns="108000" rIns="144000" bIns="144000" anchor="b" anchorCtr="0">
            <a:spAutoFit/>
          </a:bodyPr>
          <a:lstStyle>
            <a:lvl1pPr algn="l">
              <a:lnSpc>
                <a:spcPct val="12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mit Bildmotiv</a:t>
            </a:r>
            <a:br>
              <a:rPr lang="de-DE" dirty="0"/>
            </a:br>
            <a:r>
              <a:rPr lang="de-DE" dirty="0"/>
              <a:t>in VWAG </a:t>
            </a:r>
            <a:r>
              <a:rPr lang="de-DE" dirty="0" err="1"/>
              <a:t>TheSans</a:t>
            </a:r>
            <a:r>
              <a:rPr lang="de-DE" dirty="0"/>
              <a:t> fett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01328" y="3792590"/>
            <a:ext cx="7181891" cy="398652"/>
          </a:xfrm>
        </p:spPr>
        <p:txBody>
          <a:bodyPr lIns="216000"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Abteilung in VWAG </a:t>
            </a:r>
            <a:r>
              <a:rPr lang="de-DE" dirty="0" err="1"/>
              <a:t>TheSans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1334" y="4542468"/>
            <a:ext cx="4825153" cy="208472"/>
          </a:xfrm>
        </p:spPr>
        <p:txBody>
          <a:bodyPr lIns="216000"/>
          <a:lstStyle>
            <a:lvl1pPr marL="0" indent="0">
              <a:buNone/>
              <a:defRPr>
                <a:solidFill>
                  <a:schemeClr val="bg1"/>
                </a:solidFill>
                <a:latin typeface="VWAG TheSans Light" panose="020B0302050302020203" pitchFamily="34" charset="0"/>
              </a:defRPr>
            </a:lvl1pPr>
          </a:lstStyle>
          <a:p>
            <a:pPr lvl="0"/>
            <a:r>
              <a:rPr lang="de-DE" dirty="0"/>
              <a:t>Datum | 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DA22306-1FD2-4C85-A83D-4A8513838BBE}"/>
              </a:ext>
            </a:extLst>
          </p:cNvPr>
          <p:cNvSpPr/>
          <p:nvPr userDrawn="1"/>
        </p:nvSpPr>
        <p:spPr>
          <a:xfrm>
            <a:off x="9472691" y="0"/>
            <a:ext cx="2310528" cy="894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pic>
        <p:nvPicPr>
          <p:cNvPr id="14" name="Grafik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8EC55898-A196-4277-86C2-4EE069BDF4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3706" y="69320"/>
            <a:ext cx="1957744" cy="738388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22.07.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91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(Sei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1C8891-AE49-4EAA-911E-FDB6D8CC92B9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899FCA3-4925-4670-AD11-4669DBC377B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39999" y="3548377"/>
            <a:ext cx="11650414" cy="254005"/>
            <a:chOff x="539999" y="3555997"/>
            <a:chExt cx="11650414" cy="254005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842BC8B9-6DC6-464D-A134-0A2B80F83DD6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540458" y="3683000"/>
              <a:ext cx="11649955" cy="0"/>
            </a:xfrm>
            <a:prstGeom prst="line">
              <a:avLst/>
            </a:prstGeom>
            <a:ln w="31750">
              <a:solidFill>
                <a:schemeClr val="accent3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8EA1F4A8-ACC2-4AA0-B6B7-CD4E9C1A6EF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39999" y="3555997"/>
              <a:ext cx="0" cy="254005"/>
            </a:xfrm>
            <a:prstGeom prst="line">
              <a:avLst/>
            </a:prstGeom>
            <a:ln w="31750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3F9974A9-80CB-4AD4-B0F1-14B015E91D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7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988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 (Sei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FAAA66-B943-4246-9773-B6E3B0F4FA50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B596F96-846B-45CE-A01B-D2C25EC9F2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95398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8ADA6776-C225-48EC-B141-06C70BE11B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04477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2724B304-3E00-4AB6-AA7C-FC324A1B4AA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41933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B77E3A14-93D9-40A3-B34F-20EDBE4A0E1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494318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CF6FE51D-EA04-4DEE-8FF6-DB7CBD8927B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0877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F1DDB360-88D7-42E0-9B0A-F5970C3A2E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9251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76BDF37-256D-4881-AB3B-AE22FECAB7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95856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5A28EAA8-EDFF-46C4-91EE-999F8181DFD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44189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42E2B9E-E4E1-4B40-AC14-AAB3829EAB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088466" y="4075958"/>
            <a:ext cx="2586535" cy="1416200"/>
          </a:xfrm>
          <a:prstGeom prst="rect">
            <a:avLst/>
          </a:prstGeom>
        </p:spPr>
        <p:txBody>
          <a:bodyPr lIns="14400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9FB5588B-ABF3-4BDE-A234-710398622ED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984159" y="1863950"/>
            <a:ext cx="2586535" cy="1533195"/>
          </a:xfrm>
          <a:prstGeom prst="rect">
            <a:avLst/>
          </a:prstGeom>
        </p:spPr>
        <p:txBody>
          <a:bodyPr lIns="144000" rIns="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8EB845B4-6024-4939-B8C4-5FB6F2EEFC7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4158" y="1863950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AB8E9FC1-05A3-4EC9-A7EA-B2C1E02F85B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92522" y="3692158"/>
            <a:ext cx="7200" cy="180000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A8ED919B-37CE-4A1F-AF98-8DE7786067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673475"/>
            <a:ext cx="11649955" cy="0"/>
          </a:xfrm>
          <a:prstGeom prst="line">
            <a:avLst/>
          </a:prstGeom>
          <a:ln w="31750">
            <a:solidFill>
              <a:schemeClr val="accent3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97C0E281-76DE-4ECB-AB11-FC318F6814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</p:spTree>
    <p:extLst>
      <p:ext uri="{BB962C8B-B14F-4D97-AF65-F5344CB8AC3E}">
        <p14:creationId xmlns:p14="http://schemas.microsoft.com/office/powerpoint/2010/main" val="177811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M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platzhalter 13">
            <a:extLst>
              <a:ext uri="{FF2B5EF4-FFF2-40B4-BE49-F238E27FC236}">
                <a16:creationId xmlns:a16="http://schemas.microsoft.com/office/drawing/2014/main" id="{81EF3C66-38F1-45E5-A675-18E8846DD8CA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683000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5379DD-CFCC-45EE-AEC1-0914435F7D98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11F52E68-8BE3-4B39-A0E1-92DF26DDBC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6399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sz="1600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A24F5E99-12EC-4416-8115-08F59504A7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7165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GRAMM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C5FF55D-A09B-421E-9B6F-636A94F161CF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Diagrammplatzhalter 13">
            <a:extLst>
              <a:ext uri="{FF2B5EF4-FFF2-40B4-BE49-F238E27FC236}">
                <a16:creationId xmlns:a16="http://schemas.microsoft.com/office/drawing/2014/main" id="{F8BD4990-AEA2-4916-B167-2183BFFF9B0E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06399" y="1473200"/>
            <a:ext cx="8102600" cy="461619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9741BA2-9B51-4232-904B-B8FFA34BFF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28100" y="1927096"/>
            <a:ext cx="2857500" cy="37084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de-DE" b="1" smtClean="0">
                <a:solidFill>
                  <a:schemeClr val="accent5"/>
                </a:solidFill>
                <a:latin typeface="+mj-lt"/>
              </a:defRPr>
            </a:lvl1pPr>
            <a:lvl2pPr>
              <a:defRPr lang="de-DE" sz="1200" b="0" smtClean="0">
                <a:solidFill>
                  <a:schemeClr val="accent5"/>
                </a:solidFill>
              </a:defRPr>
            </a:lvl2pPr>
            <a:lvl3pPr>
              <a:defRPr lang="de-DE" sz="1200" b="0" smtClean="0">
                <a:solidFill>
                  <a:schemeClr val="accent5"/>
                </a:solidFill>
              </a:defRPr>
            </a:lvl3pPr>
            <a:lvl4pPr>
              <a:defRPr lang="de-DE" smtClean="0"/>
            </a:lvl4pPr>
            <a:lvl5pPr>
              <a:defRPr lang="en-GB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0" lvl="1" indent="0">
              <a:buNone/>
            </a:pPr>
            <a:r>
              <a:rPr lang="de-DE"/>
              <a:t>Zweite Ebene</a:t>
            </a:r>
          </a:p>
          <a:p>
            <a:pPr marL="0" lvl="2" indent="0">
              <a:buNone/>
            </a:pPr>
            <a:r>
              <a:rPr lang="de-DE"/>
              <a:t>Dritte Ebene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F668900-16CE-4666-A396-19054E8537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8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514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BSCHLUSS">
    <p:bg>
      <p:bgPr>
        <a:solidFill>
          <a:srgbClr val="004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4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06400" y="2205000"/>
            <a:ext cx="7904480" cy="1227704"/>
          </a:xfrm>
          <a:prstGeom prst="rect">
            <a:avLst/>
          </a:prstGeom>
          <a:noFill/>
        </p:spPr>
        <p:txBody>
          <a:bodyPr lIns="0" tIns="259200" anchor="ctr"/>
          <a:lstStyle>
            <a:lvl1pPr algn="l">
              <a:lnSpc>
                <a:spcPct val="120000"/>
              </a:lnSpc>
              <a:defRPr sz="3200">
                <a:solidFill>
                  <a:schemeClr val="bg1"/>
                </a:solidFill>
                <a:latin typeface="VW Head ExtraBold" panose="020B0904040200000003" pitchFamily="34" charset="0"/>
              </a:defRPr>
            </a:lvl1pPr>
          </a:lstStyle>
          <a:p>
            <a:r>
              <a:rPr lang="de-DE"/>
              <a:t>TITEL OHNE BILDMOTIV</a:t>
            </a:r>
            <a:br>
              <a:rPr lang="de-DE"/>
            </a:br>
            <a:r>
              <a:rPr lang="de-DE"/>
              <a:t>IN VWAG THESANS FETT 26 P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6400" y="4149000"/>
            <a:ext cx="7904480" cy="398652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DE" dirty="0"/>
              <a:t>Datum/ Abteilung in VWAG </a:t>
            </a:r>
            <a:r>
              <a:rPr lang="de-DE" dirty="0" err="1"/>
              <a:t>TheSans</a:t>
            </a:r>
            <a:r>
              <a:rPr lang="de-DE" dirty="0"/>
              <a:t> 2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8E50E72A-D94D-4742-B222-12F7A6C833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6406" y="4898878"/>
            <a:ext cx="4825153" cy="208472"/>
          </a:xfrm>
        </p:spPr>
        <p:txBody>
          <a:bodyPr/>
          <a:lstStyle>
            <a:lvl1pPr marL="0" indent="0">
              <a:buNone/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de-DE" dirty="0"/>
              <a:t>Geheimnisklasse: CONFIDENTIA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210896-5EEC-4D62-9F79-41905E4E6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9" name="Gerader Verbinder 8"/>
          <p:cNvCxnSpPr/>
          <p:nvPr userDrawn="1"/>
        </p:nvCxnSpPr>
        <p:spPr bwMode="gray">
          <a:xfrm>
            <a:off x="406400" y="3861000"/>
            <a:ext cx="7993600" cy="0"/>
          </a:xfrm>
          <a:prstGeom prst="line">
            <a:avLst/>
          </a:prstGeom>
          <a:ln w="19050">
            <a:solidFill>
              <a:srgbClr val="4F8F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8ED2A62-9439-49A9-88CF-CC142340D597}"/>
              </a:ext>
            </a:extLst>
          </p:cNvPr>
          <p:cNvGrpSpPr/>
          <p:nvPr userDrawn="1"/>
        </p:nvGrpSpPr>
        <p:grpSpPr>
          <a:xfrm>
            <a:off x="10091913" y="0"/>
            <a:ext cx="1695275" cy="666001"/>
            <a:chOff x="10091913" y="0"/>
            <a:chExt cx="1695275" cy="666001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66248E13-D7A9-4677-8EA9-F8B371B9F078}"/>
                </a:ext>
              </a:extLst>
            </p:cNvPr>
            <p:cNvGrpSpPr/>
            <p:nvPr userDrawn="1"/>
          </p:nvGrpSpPr>
          <p:grpSpPr bwMode="gray">
            <a:xfrm>
              <a:off x="10091913" y="0"/>
              <a:ext cx="1695275" cy="666000"/>
              <a:chOff x="10091913" y="0"/>
              <a:chExt cx="1695275" cy="666000"/>
            </a:xfrm>
          </p:grpSpPr>
          <p:sp>
            <p:nvSpPr>
              <p:cNvPr id="43" name="Rechteck 118">
                <a:extLst>
                  <a:ext uri="{FF2B5EF4-FFF2-40B4-BE49-F238E27FC236}">
                    <a16:creationId xmlns:a16="http://schemas.microsoft.com/office/drawing/2014/main" id="{B88A7905-76D0-4FEA-B321-27C68594BF1F}"/>
                  </a:ext>
                </a:extLst>
              </p:cNvPr>
              <p:cNvSpPr/>
              <p:nvPr userDrawn="1"/>
            </p:nvSpPr>
            <p:spPr bwMode="gray">
              <a:xfrm>
                <a:off x="10091913" y="0"/>
                <a:ext cx="1695275" cy="666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74688"/>
                <a:endParaRPr lang="de-DE" dirty="0"/>
              </a:p>
            </p:txBody>
          </p:sp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5F60A4F9-D2C8-40AE-B49B-EA1FDFE75FAE}"/>
                  </a:ext>
                </a:extLst>
              </p:cNvPr>
              <p:cNvGrpSpPr/>
              <p:nvPr userDrawn="1"/>
            </p:nvGrpSpPr>
            <p:grpSpPr bwMode="gray">
              <a:xfrm>
                <a:off x="10290477" y="193035"/>
                <a:ext cx="1478383" cy="458946"/>
                <a:chOff x="10290477" y="193035"/>
                <a:chExt cx="1478383" cy="458946"/>
              </a:xfrm>
            </p:grpSpPr>
            <p:pic>
              <p:nvPicPr>
                <p:cNvPr id="45" name="Grafik 44">
                  <a:extLst>
                    <a:ext uri="{FF2B5EF4-FFF2-40B4-BE49-F238E27FC236}">
                      <a16:creationId xmlns:a16="http://schemas.microsoft.com/office/drawing/2014/main" id="{B75561D2-DD19-4C82-B0DC-2678979E012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415039" y="360047"/>
                  <a:ext cx="1353821" cy="291934"/>
                </a:xfrm>
                <a:prstGeom prst="rect">
                  <a:avLst/>
                </a:prstGeom>
              </p:spPr>
            </p:pic>
            <p:pic>
              <p:nvPicPr>
                <p:cNvPr id="46" name="Grafik 45">
                  <a:extLst>
                    <a:ext uri="{FF2B5EF4-FFF2-40B4-BE49-F238E27FC236}">
                      <a16:creationId xmlns:a16="http://schemas.microsoft.com/office/drawing/2014/main" id="{EE9BB74A-4FD2-45BA-811D-823DD46AD8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0290477" y="193035"/>
                  <a:ext cx="1298146" cy="279929"/>
                </a:xfrm>
                <a:prstGeom prst="rect">
                  <a:avLst/>
                </a:prstGeom>
              </p:spPr>
            </p:pic>
          </p:grpSp>
        </p:grp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C9B4F6C-A87B-48C4-A64F-519D8EA09C8A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ADD6D19-43FB-4D37-B0A6-88D31A676D65}"/>
                </a:ext>
              </a:extLst>
            </p:cNvPr>
            <p:cNvGrpSpPr/>
            <p:nvPr userDrawn="1"/>
          </p:nvGrpSpPr>
          <p:grpSpPr>
            <a:xfrm>
              <a:off x="10602512" y="443475"/>
              <a:ext cx="699460" cy="46536"/>
              <a:chOff x="10602512" y="443475"/>
              <a:chExt cx="699460" cy="46536"/>
            </a:xfrm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3803AFD-CED6-4282-BC53-AC17497BFD09}"/>
                  </a:ext>
                </a:extLst>
              </p:cNvPr>
              <p:cNvSpPr/>
              <p:nvPr/>
            </p:nvSpPr>
            <p:spPr>
              <a:xfrm>
                <a:off x="10602512" y="443541"/>
                <a:ext cx="37361" cy="46400"/>
              </a:xfrm>
              <a:custGeom>
                <a:avLst/>
                <a:gdLst>
                  <a:gd name="connsiteX0" fmla="*/ 258236 w 258235"/>
                  <a:gd name="connsiteY0" fmla="*/ 302680 h 320715"/>
                  <a:gd name="connsiteX1" fmla="*/ 155035 w 258235"/>
                  <a:gd name="connsiteY1" fmla="*/ 320715 h 320715"/>
                  <a:gd name="connsiteX2" fmla="*/ 0 w 258235"/>
                  <a:gd name="connsiteY2" fmla="*/ 166618 h 320715"/>
                  <a:gd name="connsiteX3" fmla="*/ 167987 w 258235"/>
                  <a:gd name="connsiteY3" fmla="*/ 0 h 320715"/>
                  <a:gd name="connsiteX4" fmla="*/ 247582 w 258235"/>
                  <a:gd name="connsiteY4" fmla="*/ 11095 h 320715"/>
                  <a:gd name="connsiteX5" fmla="*/ 247582 w 258235"/>
                  <a:gd name="connsiteY5" fmla="*/ 52735 h 320715"/>
                  <a:gd name="connsiteX6" fmla="*/ 163813 w 258235"/>
                  <a:gd name="connsiteY6" fmla="*/ 36538 h 320715"/>
                  <a:gd name="connsiteX7" fmla="*/ 45345 w 258235"/>
                  <a:gd name="connsiteY7" fmla="*/ 160569 h 320715"/>
                  <a:gd name="connsiteX8" fmla="*/ 161037 w 258235"/>
                  <a:gd name="connsiteY8" fmla="*/ 283680 h 320715"/>
                  <a:gd name="connsiteX9" fmla="*/ 216117 w 258235"/>
                  <a:gd name="connsiteY9" fmla="*/ 275361 h 320715"/>
                  <a:gd name="connsiteX10" fmla="*/ 216117 w 258235"/>
                  <a:gd name="connsiteY10" fmla="*/ 157333 h 320715"/>
                  <a:gd name="connsiteX11" fmla="*/ 258227 w 258235"/>
                  <a:gd name="connsiteY11" fmla="*/ 157333 h 320715"/>
                  <a:gd name="connsiteX12" fmla="*/ 258227 w 258235"/>
                  <a:gd name="connsiteY12" fmla="*/ 302680 h 320715"/>
                  <a:gd name="connsiteX13" fmla="*/ 258236 w 258235"/>
                  <a:gd name="connsiteY13" fmla="*/ 302680 h 3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235" h="320715">
                    <a:moveTo>
                      <a:pt x="258236" y="302680"/>
                    </a:moveTo>
                    <a:cubicBezTo>
                      <a:pt x="227212" y="314235"/>
                      <a:pt x="189276" y="320715"/>
                      <a:pt x="155035" y="320715"/>
                    </a:cubicBezTo>
                    <a:cubicBezTo>
                      <a:pt x="57387" y="320715"/>
                      <a:pt x="0" y="261950"/>
                      <a:pt x="0" y="166618"/>
                    </a:cubicBezTo>
                    <a:cubicBezTo>
                      <a:pt x="0" y="69888"/>
                      <a:pt x="57387" y="0"/>
                      <a:pt x="167987" y="0"/>
                    </a:cubicBezTo>
                    <a:cubicBezTo>
                      <a:pt x="194828" y="0"/>
                      <a:pt x="223526" y="4614"/>
                      <a:pt x="247582" y="11095"/>
                    </a:cubicBezTo>
                    <a:lnTo>
                      <a:pt x="247582" y="52735"/>
                    </a:lnTo>
                    <a:cubicBezTo>
                      <a:pt x="221210" y="42090"/>
                      <a:pt x="190664" y="36538"/>
                      <a:pt x="163813" y="36538"/>
                    </a:cubicBezTo>
                    <a:cubicBezTo>
                      <a:pt x="79604" y="36538"/>
                      <a:pt x="45345" y="95773"/>
                      <a:pt x="45345" y="160569"/>
                    </a:cubicBezTo>
                    <a:cubicBezTo>
                      <a:pt x="45345" y="238325"/>
                      <a:pt x="88392" y="283680"/>
                      <a:pt x="161037" y="283680"/>
                    </a:cubicBezTo>
                    <a:cubicBezTo>
                      <a:pt x="181858" y="283680"/>
                      <a:pt x="199452" y="280444"/>
                      <a:pt x="216117" y="275361"/>
                    </a:cubicBezTo>
                    <a:lnTo>
                      <a:pt x="216117" y="157333"/>
                    </a:lnTo>
                    <a:lnTo>
                      <a:pt x="258227" y="157333"/>
                    </a:lnTo>
                    <a:lnTo>
                      <a:pt x="258227" y="302680"/>
                    </a:lnTo>
                    <a:lnTo>
                      <a:pt x="258236" y="302680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7593B445-5F32-4D65-9757-DAD39B95A09B}"/>
                  </a:ext>
                </a:extLst>
              </p:cNvPr>
              <p:cNvSpPr/>
              <p:nvPr/>
            </p:nvSpPr>
            <p:spPr>
              <a:xfrm>
                <a:off x="10667050" y="443872"/>
                <a:ext cx="30734" cy="45465"/>
              </a:xfrm>
              <a:custGeom>
                <a:avLst/>
                <a:gdLst>
                  <a:gd name="connsiteX0" fmla="*/ 159659 w 212431"/>
                  <a:gd name="connsiteY0" fmla="*/ 314253 h 314253"/>
                  <a:gd name="connsiteX1" fmla="*/ 65255 w 212431"/>
                  <a:gd name="connsiteY1" fmla="*/ 179119 h 314253"/>
                  <a:gd name="connsiteX2" fmla="*/ 42587 w 212431"/>
                  <a:gd name="connsiteY2" fmla="*/ 179119 h 314253"/>
                  <a:gd name="connsiteX3" fmla="*/ 42587 w 212431"/>
                  <a:gd name="connsiteY3" fmla="*/ 314253 h 314253"/>
                  <a:gd name="connsiteX4" fmla="*/ 0 w 212431"/>
                  <a:gd name="connsiteY4" fmla="*/ 314253 h 314253"/>
                  <a:gd name="connsiteX5" fmla="*/ 0 w 212431"/>
                  <a:gd name="connsiteY5" fmla="*/ 2326 h 314253"/>
                  <a:gd name="connsiteX6" fmla="*/ 81461 w 212431"/>
                  <a:gd name="connsiteY6" fmla="*/ 0 h 314253"/>
                  <a:gd name="connsiteX7" fmla="*/ 191142 w 212431"/>
                  <a:gd name="connsiteY7" fmla="*/ 85175 h 314253"/>
                  <a:gd name="connsiteX8" fmla="*/ 109222 w 212431"/>
                  <a:gd name="connsiteY8" fmla="*/ 173558 h 314253"/>
                  <a:gd name="connsiteX9" fmla="*/ 134684 w 212431"/>
                  <a:gd name="connsiteY9" fmla="*/ 206898 h 314253"/>
                  <a:gd name="connsiteX10" fmla="*/ 212432 w 212431"/>
                  <a:gd name="connsiteY10" fmla="*/ 314253 h 314253"/>
                  <a:gd name="connsiteX11" fmla="*/ 159659 w 212431"/>
                  <a:gd name="connsiteY11" fmla="*/ 314253 h 314253"/>
                  <a:gd name="connsiteX12" fmla="*/ 159659 w 212431"/>
                  <a:gd name="connsiteY12" fmla="*/ 314253 h 314253"/>
                  <a:gd name="connsiteX13" fmla="*/ 42587 w 212431"/>
                  <a:gd name="connsiteY13" fmla="*/ 146745 h 314253"/>
                  <a:gd name="connsiteX14" fmla="*/ 75909 w 212431"/>
                  <a:gd name="connsiteY14" fmla="*/ 147186 h 314253"/>
                  <a:gd name="connsiteX15" fmla="*/ 146716 w 212431"/>
                  <a:gd name="connsiteY15" fmla="*/ 90277 h 314253"/>
                  <a:gd name="connsiteX16" fmla="*/ 77757 w 212431"/>
                  <a:gd name="connsiteY16" fmla="*/ 34747 h 314253"/>
                  <a:gd name="connsiteX17" fmla="*/ 42587 w 212431"/>
                  <a:gd name="connsiteY17" fmla="*/ 35676 h 314253"/>
                  <a:gd name="connsiteX18" fmla="*/ 42587 w 21243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31" h="314253">
                    <a:moveTo>
                      <a:pt x="159659" y="314253"/>
                    </a:moveTo>
                    <a:lnTo>
                      <a:pt x="65255" y="179119"/>
                    </a:lnTo>
                    <a:lnTo>
                      <a:pt x="42587" y="179119"/>
                    </a:lnTo>
                    <a:lnTo>
                      <a:pt x="42587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190" y="0"/>
                      <a:pt x="81461" y="0"/>
                    </a:cubicBezTo>
                    <a:cubicBezTo>
                      <a:pt x="146716" y="0"/>
                      <a:pt x="191142" y="25462"/>
                      <a:pt x="191142" y="85175"/>
                    </a:cubicBezTo>
                    <a:cubicBezTo>
                      <a:pt x="191142" y="139298"/>
                      <a:pt x="153647" y="167068"/>
                      <a:pt x="109222" y="173558"/>
                    </a:cubicBezTo>
                    <a:cubicBezTo>
                      <a:pt x="109222" y="173558"/>
                      <a:pt x="122652" y="189754"/>
                      <a:pt x="134684" y="206898"/>
                    </a:cubicBezTo>
                    <a:lnTo>
                      <a:pt x="212432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7" y="146745"/>
                    </a:moveTo>
                    <a:cubicBezTo>
                      <a:pt x="42587" y="146745"/>
                      <a:pt x="60172" y="147186"/>
                      <a:pt x="75909" y="147186"/>
                    </a:cubicBezTo>
                    <a:cubicBezTo>
                      <a:pt x="121254" y="147186"/>
                      <a:pt x="146716" y="125915"/>
                      <a:pt x="146716" y="90277"/>
                    </a:cubicBezTo>
                    <a:cubicBezTo>
                      <a:pt x="146716" y="54648"/>
                      <a:pt x="122652" y="34747"/>
                      <a:pt x="77757" y="34747"/>
                    </a:cubicBezTo>
                    <a:cubicBezTo>
                      <a:pt x="60632" y="34747"/>
                      <a:pt x="42587" y="35676"/>
                      <a:pt x="42587" y="35676"/>
                    </a:cubicBezTo>
                    <a:lnTo>
                      <a:pt x="42587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0E284EFA-45B7-46D0-B102-3652666FEA6E}"/>
                  </a:ext>
                </a:extLst>
              </p:cNvPr>
              <p:cNvSpPr/>
              <p:nvPr/>
            </p:nvSpPr>
            <p:spPr>
              <a:xfrm>
                <a:off x="10717527" y="443475"/>
                <a:ext cx="41780" cy="46536"/>
              </a:xfrm>
              <a:custGeom>
                <a:avLst/>
                <a:gdLst>
                  <a:gd name="connsiteX0" fmla="*/ 140218 w 288782"/>
                  <a:gd name="connsiteY0" fmla="*/ 321653 h 321653"/>
                  <a:gd name="connsiteX1" fmla="*/ 0 w 288782"/>
                  <a:gd name="connsiteY1" fmla="*/ 165192 h 321653"/>
                  <a:gd name="connsiteX2" fmla="*/ 148564 w 288782"/>
                  <a:gd name="connsiteY2" fmla="*/ 0 h 321653"/>
                  <a:gd name="connsiteX3" fmla="*/ 288782 w 288782"/>
                  <a:gd name="connsiteY3" fmla="*/ 156414 h 321653"/>
                  <a:gd name="connsiteX4" fmla="*/ 140218 w 288782"/>
                  <a:gd name="connsiteY4" fmla="*/ 321653 h 321653"/>
                  <a:gd name="connsiteX5" fmla="*/ 144382 w 288782"/>
                  <a:gd name="connsiteY5" fmla="*/ 37486 h 321653"/>
                  <a:gd name="connsiteX6" fmla="*/ 44885 w 288782"/>
                  <a:gd name="connsiteY6" fmla="*/ 158721 h 321653"/>
                  <a:gd name="connsiteX7" fmla="*/ 144382 w 288782"/>
                  <a:gd name="connsiteY7" fmla="*/ 284158 h 321653"/>
                  <a:gd name="connsiteX8" fmla="*/ 243887 w 288782"/>
                  <a:gd name="connsiteY8" fmla="*/ 162876 h 321653"/>
                  <a:gd name="connsiteX9" fmla="*/ 144382 w 288782"/>
                  <a:gd name="connsiteY9" fmla="*/ 37486 h 321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8782" h="321653">
                    <a:moveTo>
                      <a:pt x="140218" y="321653"/>
                    </a:moveTo>
                    <a:cubicBezTo>
                      <a:pt x="49509" y="321653"/>
                      <a:pt x="0" y="261002"/>
                      <a:pt x="0" y="165192"/>
                    </a:cubicBezTo>
                    <a:cubicBezTo>
                      <a:pt x="0" y="58315"/>
                      <a:pt x="68041" y="0"/>
                      <a:pt x="148564" y="0"/>
                    </a:cubicBezTo>
                    <a:cubicBezTo>
                      <a:pt x="239282" y="0"/>
                      <a:pt x="288782" y="60632"/>
                      <a:pt x="288782" y="156414"/>
                    </a:cubicBezTo>
                    <a:cubicBezTo>
                      <a:pt x="288772" y="263319"/>
                      <a:pt x="220741" y="321653"/>
                      <a:pt x="140218" y="321653"/>
                    </a:cubicBezTo>
                    <a:close/>
                    <a:moveTo>
                      <a:pt x="144382" y="37486"/>
                    </a:moveTo>
                    <a:cubicBezTo>
                      <a:pt x="88392" y="37486"/>
                      <a:pt x="44885" y="80054"/>
                      <a:pt x="44885" y="158721"/>
                    </a:cubicBezTo>
                    <a:cubicBezTo>
                      <a:pt x="44885" y="233711"/>
                      <a:pt x="78217" y="284158"/>
                      <a:pt x="144382" y="284158"/>
                    </a:cubicBezTo>
                    <a:cubicBezTo>
                      <a:pt x="200380" y="284158"/>
                      <a:pt x="243887" y="241589"/>
                      <a:pt x="243887" y="162876"/>
                    </a:cubicBezTo>
                    <a:cubicBezTo>
                      <a:pt x="243878" y="87942"/>
                      <a:pt x="210565" y="37486"/>
                      <a:pt x="144382" y="374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12043CAE-73DC-43AE-A780-747247CF4711}"/>
                  </a:ext>
                </a:extLst>
              </p:cNvPr>
              <p:cNvSpPr/>
              <p:nvPr/>
            </p:nvSpPr>
            <p:spPr>
              <a:xfrm>
                <a:off x="10783873" y="444147"/>
                <a:ext cx="34951" cy="45864"/>
              </a:xfrm>
              <a:custGeom>
                <a:avLst/>
                <a:gdLst>
                  <a:gd name="connsiteX0" fmla="*/ 241570 w 241579"/>
                  <a:gd name="connsiteY0" fmla="*/ 192962 h 317010"/>
                  <a:gd name="connsiteX1" fmla="*/ 117090 w 241579"/>
                  <a:gd name="connsiteY1" fmla="*/ 317011 h 317010"/>
                  <a:gd name="connsiteX2" fmla="*/ 0 w 241579"/>
                  <a:gd name="connsiteY2" fmla="*/ 207330 h 317010"/>
                  <a:gd name="connsiteX3" fmla="*/ 0 w 241579"/>
                  <a:gd name="connsiteY3" fmla="*/ 0 h 317010"/>
                  <a:gd name="connsiteX4" fmla="*/ 42588 w 241579"/>
                  <a:gd name="connsiteY4" fmla="*/ 0 h 317010"/>
                  <a:gd name="connsiteX5" fmla="*/ 42588 w 241579"/>
                  <a:gd name="connsiteY5" fmla="*/ 204113 h 317010"/>
                  <a:gd name="connsiteX6" fmla="*/ 119875 w 241579"/>
                  <a:gd name="connsiteY6" fmla="*/ 281851 h 317010"/>
                  <a:gd name="connsiteX7" fmla="*/ 199939 w 241579"/>
                  <a:gd name="connsiteY7" fmla="*/ 196235 h 317010"/>
                  <a:gd name="connsiteX8" fmla="*/ 199939 w 241579"/>
                  <a:gd name="connsiteY8" fmla="*/ 0 h 317010"/>
                  <a:gd name="connsiteX9" fmla="*/ 241580 w 241579"/>
                  <a:gd name="connsiteY9" fmla="*/ 0 h 317010"/>
                  <a:gd name="connsiteX10" fmla="*/ 241570 w 241579"/>
                  <a:gd name="connsiteY10" fmla="*/ 192962 h 317010"/>
                  <a:gd name="connsiteX11" fmla="*/ 241570 w 241579"/>
                  <a:gd name="connsiteY11" fmla="*/ 192962 h 31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579" h="317010">
                    <a:moveTo>
                      <a:pt x="241570" y="192962"/>
                    </a:moveTo>
                    <a:cubicBezTo>
                      <a:pt x="241570" y="274855"/>
                      <a:pt x="198523" y="317011"/>
                      <a:pt x="117090" y="317011"/>
                    </a:cubicBezTo>
                    <a:cubicBezTo>
                      <a:pt x="19442" y="317011"/>
                      <a:pt x="0" y="262859"/>
                      <a:pt x="0" y="207330"/>
                    </a:cubicBezTo>
                    <a:lnTo>
                      <a:pt x="0" y="0"/>
                    </a:lnTo>
                    <a:lnTo>
                      <a:pt x="42588" y="0"/>
                    </a:lnTo>
                    <a:lnTo>
                      <a:pt x="42588" y="204113"/>
                    </a:lnTo>
                    <a:cubicBezTo>
                      <a:pt x="42588" y="247123"/>
                      <a:pt x="56918" y="281851"/>
                      <a:pt x="119875" y="281851"/>
                    </a:cubicBezTo>
                    <a:cubicBezTo>
                      <a:pt x="174467" y="281851"/>
                      <a:pt x="199939" y="259174"/>
                      <a:pt x="199939" y="196235"/>
                    </a:cubicBezTo>
                    <a:lnTo>
                      <a:pt x="199939" y="0"/>
                    </a:lnTo>
                    <a:lnTo>
                      <a:pt x="241580" y="0"/>
                    </a:lnTo>
                    <a:lnTo>
                      <a:pt x="241570" y="192962"/>
                    </a:lnTo>
                    <a:lnTo>
                      <a:pt x="241570" y="19296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D9659E7B-1CE4-4320-A323-37CFEF6CFFB5}"/>
                  </a:ext>
                </a:extLst>
              </p:cNvPr>
              <p:cNvSpPr/>
              <p:nvPr/>
            </p:nvSpPr>
            <p:spPr>
              <a:xfrm>
                <a:off x="10847404" y="443872"/>
                <a:ext cx="28992" cy="45465"/>
              </a:xfrm>
              <a:custGeom>
                <a:avLst/>
                <a:gdLst>
                  <a:gd name="connsiteX0" fmla="*/ 0 w 200389"/>
                  <a:gd name="connsiteY0" fmla="*/ 314253 h 314253"/>
                  <a:gd name="connsiteX1" fmla="*/ 0 w 200389"/>
                  <a:gd name="connsiteY1" fmla="*/ 1866 h 314253"/>
                  <a:gd name="connsiteX2" fmla="*/ 81912 w 200389"/>
                  <a:gd name="connsiteY2" fmla="*/ 0 h 314253"/>
                  <a:gd name="connsiteX3" fmla="*/ 200390 w 200389"/>
                  <a:gd name="connsiteY3" fmla="*/ 97199 h 314253"/>
                  <a:gd name="connsiteX4" fmla="*/ 75450 w 200389"/>
                  <a:gd name="connsiteY4" fmla="*/ 207330 h 314253"/>
                  <a:gd name="connsiteX5" fmla="*/ 42588 w 200389"/>
                  <a:gd name="connsiteY5" fmla="*/ 205960 h 314253"/>
                  <a:gd name="connsiteX6" fmla="*/ 42588 w 200389"/>
                  <a:gd name="connsiteY6" fmla="*/ 314253 h 314253"/>
                  <a:gd name="connsiteX7" fmla="*/ 0 w 200389"/>
                  <a:gd name="connsiteY7" fmla="*/ 314253 h 314253"/>
                  <a:gd name="connsiteX8" fmla="*/ 0 w 200389"/>
                  <a:gd name="connsiteY8" fmla="*/ 314253 h 314253"/>
                  <a:gd name="connsiteX9" fmla="*/ 42578 w 200389"/>
                  <a:gd name="connsiteY9" fmla="*/ 169882 h 314253"/>
                  <a:gd name="connsiteX10" fmla="*/ 78676 w 200389"/>
                  <a:gd name="connsiteY10" fmla="*/ 172648 h 314253"/>
                  <a:gd name="connsiteX11" fmla="*/ 156424 w 200389"/>
                  <a:gd name="connsiteY11" fmla="*/ 103229 h 314253"/>
                  <a:gd name="connsiteX12" fmla="*/ 76829 w 200389"/>
                  <a:gd name="connsiteY12" fmla="*/ 34757 h 314253"/>
                  <a:gd name="connsiteX13" fmla="*/ 42597 w 200389"/>
                  <a:gd name="connsiteY13" fmla="*/ 35676 h 314253"/>
                  <a:gd name="connsiteX14" fmla="*/ 42578 w 200389"/>
                  <a:gd name="connsiteY14" fmla="*/ 169882 h 314253"/>
                  <a:gd name="connsiteX15" fmla="*/ 42578 w 200389"/>
                  <a:gd name="connsiteY15" fmla="*/ 169882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0389" h="314253">
                    <a:moveTo>
                      <a:pt x="0" y="314253"/>
                    </a:moveTo>
                    <a:lnTo>
                      <a:pt x="0" y="1866"/>
                    </a:lnTo>
                    <a:cubicBezTo>
                      <a:pt x="0" y="1866"/>
                      <a:pt x="44416" y="0"/>
                      <a:pt x="81912" y="0"/>
                    </a:cubicBezTo>
                    <a:cubicBezTo>
                      <a:pt x="163363" y="0"/>
                      <a:pt x="200390" y="43535"/>
                      <a:pt x="200390" y="97199"/>
                    </a:cubicBezTo>
                    <a:cubicBezTo>
                      <a:pt x="200390" y="160118"/>
                      <a:pt x="153188" y="207330"/>
                      <a:pt x="75450" y="207330"/>
                    </a:cubicBezTo>
                    <a:cubicBezTo>
                      <a:pt x="59234" y="207330"/>
                      <a:pt x="42588" y="205960"/>
                      <a:pt x="42588" y="205960"/>
                    </a:cubicBez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314253"/>
                    </a:lnTo>
                    <a:close/>
                    <a:moveTo>
                      <a:pt x="42578" y="169882"/>
                    </a:moveTo>
                    <a:cubicBezTo>
                      <a:pt x="42578" y="169882"/>
                      <a:pt x="60631" y="172648"/>
                      <a:pt x="78676" y="172648"/>
                    </a:cubicBezTo>
                    <a:cubicBezTo>
                      <a:pt x="130501" y="172648"/>
                      <a:pt x="156424" y="142590"/>
                      <a:pt x="156424" y="103229"/>
                    </a:cubicBezTo>
                    <a:cubicBezTo>
                      <a:pt x="156424" y="62967"/>
                      <a:pt x="131898" y="34757"/>
                      <a:pt x="76829" y="34757"/>
                    </a:cubicBezTo>
                    <a:cubicBezTo>
                      <a:pt x="60631" y="34757"/>
                      <a:pt x="42597" y="35676"/>
                      <a:pt x="42597" y="35676"/>
                    </a:cubicBezTo>
                    <a:lnTo>
                      <a:pt x="42578" y="169882"/>
                    </a:lnTo>
                    <a:lnTo>
                      <a:pt x="42578" y="169882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B43F4E3C-D697-4248-A8DA-17F94CFD0919}"/>
                  </a:ext>
                </a:extLst>
              </p:cNvPr>
              <p:cNvSpPr/>
              <p:nvPr/>
            </p:nvSpPr>
            <p:spPr>
              <a:xfrm>
                <a:off x="10926667" y="443545"/>
                <a:ext cx="27115" cy="46393"/>
              </a:xfrm>
              <a:custGeom>
                <a:avLst/>
                <a:gdLst>
                  <a:gd name="connsiteX0" fmla="*/ 163363 w 187419"/>
                  <a:gd name="connsiteY0" fmla="*/ 43478 h 320668"/>
                  <a:gd name="connsiteX1" fmla="*/ 106896 w 187419"/>
                  <a:gd name="connsiteY1" fmla="*/ 35122 h 320668"/>
                  <a:gd name="connsiteX2" fmla="*/ 43497 w 187419"/>
                  <a:gd name="connsiteY2" fmla="*/ 81874 h 320668"/>
                  <a:gd name="connsiteX3" fmla="*/ 187419 w 187419"/>
                  <a:gd name="connsiteY3" fmla="*/ 229491 h 320668"/>
                  <a:gd name="connsiteX4" fmla="*/ 74962 w 187419"/>
                  <a:gd name="connsiteY4" fmla="*/ 320668 h 320668"/>
                  <a:gd name="connsiteX5" fmla="*/ 4623 w 187419"/>
                  <a:gd name="connsiteY5" fmla="*/ 312350 h 320668"/>
                  <a:gd name="connsiteX6" fmla="*/ 4623 w 187419"/>
                  <a:gd name="connsiteY6" fmla="*/ 270700 h 320668"/>
                  <a:gd name="connsiteX7" fmla="*/ 77278 w 187419"/>
                  <a:gd name="connsiteY7" fmla="*/ 284130 h 320668"/>
                  <a:gd name="connsiteX8" fmla="*/ 143003 w 187419"/>
                  <a:gd name="connsiteY8" fmla="*/ 232745 h 320668"/>
                  <a:gd name="connsiteX9" fmla="*/ 0 w 187419"/>
                  <a:gd name="connsiteY9" fmla="*/ 85138 h 320668"/>
                  <a:gd name="connsiteX10" fmla="*/ 109671 w 187419"/>
                  <a:gd name="connsiteY10" fmla="*/ 0 h 320668"/>
                  <a:gd name="connsiteX11" fmla="*/ 163363 w 187419"/>
                  <a:gd name="connsiteY11" fmla="*/ 5074 h 320668"/>
                  <a:gd name="connsiteX12" fmla="*/ 163363 w 187419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9" h="320668">
                    <a:moveTo>
                      <a:pt x="163363" y="43478"/>
                    </a:moveTo>
                    <a:cubicBezTo>
                      <a:pt x="146698" y="38846"/>
                      <a:pt x="124940" y="35122"/>
                      <a:pt x="106896" y="35122"/>
                    </a:cubicBezTo>
                    <a:cubicBezTo>
                      <a:pt x="65255" y="35122"/>
                      <a:pt x="43497" y="52707"/>
                      <a:pt x="43497" y="81874"/>
                    </a:cubicBezTo>
                    <a:cubicBezTo>
                      <a:pt x="43497" y="150356"/>
                      <a:pt x="187419" y="126281"/>
                      <a:pt x="187419" y="229491"/>
                    </a:cubicBezTo>
                    <a:cubicBezTo>
                      <a:pt x="187419" y="281804"/>
                      <a:pt x="148095" y="320668"/>
                      <a:pt x="74962" y="320668"/>
                    </a:cubicBezTo>
                    <a:cubicBezTo>
                      <a:pt x="49519" y="320668"/>
                      <a:pt x="24056" y="317424"/>
                      <a:pt x="4623" y="312350"/>
                    </a:cubicBezTo>
                    <a:lnTo>
                      <a:pt x="4623" y="270700"/>
                    </a:lnTo>
                    <a:cubicBezTo>
                      <a:pt x="24515" y="278578"/>
                      <a:pt x="52304" y="284130"/>
                      <a:pt x="77278" y="284130"/>
                    </a:cubicBezTo>
                    <a:cubicBezTo>
                      <a:pt x="115233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71" y="0"/>
                      <a:pt x="109671" y="0"/>
                    </a:cubicBezTo>
                    <a:cubicBezTo>
                      <a:pt x="127725" y="0"/>
                      <a:pt x="146688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50DC73B-FEA9-4E70-BB7C-34E7FE90F049}"/>
                  </a:ext>
                </a:extLst>
              </p:cNvPr>
              <p:cNvSpPr/>
              <p:nvPr/>
            </p:nvSpPr>
            <p:spPr>
              <a:xfrm>
                <a:off x="10977750" y="444142"/>
                <a:ext cx="25845" cy="45195"/>
              </a:xfrm>
              <a:custGeom>
                <a:avLst/>
                <a:gdLst>
                  <a:gd name="connsiteX0" fmla="*/ 0 w 178640"/>
                  <a:gd name="connsiteY0" fmla="*/ 312387 h 312387"/>
                  <a:gd name="connsiteX1" fmla="*/ 0 w 178640"/>
                  <a:gd name="connsiteY1" fmla="*/ 0 h 312387"/>
                  <a:gd name="connsiteX2" fmla="*/ 176803 w 178640"/>
                  <a:gd name="connsiteY2" fmla="*/ 0 h 312387"/>
                  <a:gd name="connsiteX3" fmla="*/ 176803 w 178640"/>
                  <a:gd name="connsiteY3" fmla="*/ 35179 h 312387"/>
                  <a:gd name="connsiteX4" fmla="*/ 42578 w 178640"/>
                  <a:gd name="connsiteY4" fmla="*/ 35179 h 312387"/>
                  <a:gd name="connsiteX5" fmla="*/ 42578 w 178640"/>
                  <a:gd name="connsiteY5" fmla="*/ 134196 h 312387"/>
                  <a:gd name="connsiteX6" fmla="*/ 165670 w 178640"/>
                  <a:gd name="connsiteY6" fmla="*/ 134196 h 312387"/>
                  <a:gd name="connsiteX7" fmla="*/ 165670 w 178640"/>
                  <a:gd name="connsiteY7" fmla="*/ 168447 h 312387"/>
                  <a:gd name="connsiteX8" fmla="*/ 42578 w 178640"/>
                  <a:gd name="connsiteY8" fmla="*/ 168447 h 312387"/>
                  <a:gd name="connsiteX9" fmla="*/ 42578 w 178640"/>
                  <a:gd name="connsiteY9" fmla="*/ 276740 h 312387"/>
                  <a:gd name="connsiteX10" fmla="*/ 178641 w 178640"/>
                  <a:gd name="connsiteY10" fmla="*/ 276740 h 312387"/>
                  <a:gd name="connsiteX11" fmla="*/ 178641 w 178640"/>
                  <a:gd name="connsiteY11" fmla="*/ 312387 h 312387"/>
                  <a:gd name="connsiteX12" fmla="*/ 0 w 178640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40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03" y="0"/>
                    </a:lnTo>
                    <a:lnTo>
                      <a:pt x="176803" y="35179"/>
                    </a:lnTo>
                    <a:lnTo>
                      <a:pt x="42578" y="35179"/>
                    </a:lnTo>
                    <a:lnTo>
                      <a:pt x="42578" y="134196"/>
                    </a:lnTo>
                    <a:lnTo>
                      <a:pt x="165670" y="134196"/>
                    </a:lnTo>
                    <a:lnTo>
                      <a:pt x="165670" y="168447"/>
                    </a:lnTo>
                    <a:lnTo>
                      <a:pt x="42578" y="168447"/>
                    </a:lnTo>
                    <a:lnTo>
                      <a:pt x="42578" y="276740"/>
                    </a:lnTo>
                    <a:lnTo>
                      <a:pt x="178641" y="276740"/>
                    </a:lnTo>
                    <a:lnTo>
                      <a:pt x="178641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9C35732-8731-487B-B3D8-27419201BBD8}"/>
                  </a:ext>
                </a:extLst>
              </p:cNvPr>
              <p:cNvSpPr/>
              <p:nvPr/>
            </p:nvSpPr>
            <p:spPr>
              <a:xfrm>
                <a:off x="11030036" y="443872"/>
                <a:ext cx="30735" cy="45465"/>
              </a:xfrm>
              <a:custGeom>
                <a:avLst/>
                <a:gdLst>
                  <a:gd name="connsiteX0" fmla="*/ 159659 w 212441"/>
                  <a:gd name="connsiteY0" fmla="*/ 314253 h 314253"/>
                  <a:gd name="connsiteX1" fmla="*/ 65246 w 212441"/>
                  <a:gd name="connsiteY1" fmla="*/ 179119 h 314253"/>
                  <a:gd name="connsiteX2" fmla="*/ 42588 w 212441"/>
                  <a:gd name="connsiteY2" fmla="*/ 179119 h 314253"/>
                  <a:gd name="connsiteX3" fmla="*/ 42588 w 212441"/>
                  <a:gd name="connsiteY3" fmla="*/ 314253 h 314253"/>
                  <a:gd name="connsiteX4" fmla="*/ 0 w 212441"/>
                  <a:gd name="connsiteY4" fmla="*/ 314253 h 314253"/>
                  <a:gd name="connsiteX5" fmla="*/ 0 w 212441"/>
                  <a:gd name="connsiteY5" fmla="*/ 2326 h 314253"/>
                  <a:gd name="connsiteX6" fmla="*/ 81462 w 212441"/>
                  <a:gd name="connsiteY6" fmla="*/ 0 h 314253"/>
                  <a:gd name="connsiteX7" fmla="*/ 191143 w 212441"/>
                  <a:gd name="connsiteY7" fmla="*/ 85175 h 314253"/>
                  <a:gd name="connsiteX8" fmla="*/ 109231 w 212441"/>
                  <a:gd name="connsiteY8" fmla="*/ 173558 h 314253"/>
                  <a:gd name="connsiteX9" fmla="*/ 134693 w 212441"/>
                  <a:gd name="connsiteY9" fmla="*/ 206898 h 314253"/>
                  <a:gd name="connsiteX10" fmla="*/ 212441 w 212441"/>
                  <a:gd name="connsiteY10" fmla="*/ 314253 h 314253"/>
                  <a:gd name="connsiteX11" fmla="*/ 159659 w 212441"/>
                  <a:gd name="connsiteY11" fmla="*/ 314253 h 314253"/>
                  <a:gd name="connsiteX12" fmla="*/ 159659 w 212441"/>
                  <a:gd name="connsiteY12" fmla="*/ 314253 h 314253"/>
                  <a:gd name="connsiteX13" fmla="*/ 42588 w 212441"/>
                  <a:gd name="connsiteY13" fmla="*/ 146745 h 314253"/>
                  <a:gd name="connsiteX14" fmla="*/ 75900 w 212441"/>
                  <a:gd name="connsiteY14" fmla="*/ 147186 h 314253"/>
                  <a:gd name="connsiteX15" fmla="*/ 146726 w 212441"/>
                  <a:gd name="connsiteY15" fmla="*/ 90277 h 314253"/>
                  <a:gd name="connsiteX16" fmla="*/ 77757 w 212441"/>
                  <a:gd name="connsiteY16" fmla="*/ 34747 h 314253"/>
                  <a:gd name="connsiteX17" fmla="*/ 42588 w 212441"/>
                  <a:gd name="connsiteY17" fmla="*/ 35676 h 314253"/>
                  <a:gd name="connsiteX18" fmla="*/ 42588 w 212441"/>
                  <a:gd name="connsiteY18" fmla="*/ 146745 h 31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441" h="314253">
                    <a:moveTo>
                      <a:pt x="159659" y="314253"/>
                    </a:moveTo>
                    <a:lnTo>
                      <a:pt x="65246" y="179119"/>
                    </a:lnTo>
                    <a:lnTo>
                      <a:pt x="42588" y="179119"/>
                    </a:lnTo>
                    <a:lnTo>
                      <a:pt x="42588" y="314253"/>
                    </a:lnTo>
                    <a:lnTo>
                      <a:pt x="0" y="314253"/>
                    </a:lnTo>
                    <a:lnTo>
                      <a:pt x="0" y="2326"/>
                    </a:lnTo>
                    <a:cubicBezTo>
                      <a:pt x="0" y="2326"/>
                      <a:pt x="41200" y="0"/>
                      <a:pt x="81462" y="0"/>
                    </a:cubicBezTo>
                    <a:cubicBezTo>
                      <a:pt x="146726" y="0"/>
                      <a:pt x="191143" y="25462"/>
                      <a:pt x="191143" y="85175"/>
                    </a:cubicBezTo>
                    <a:cubicBezTo>
                      <a:pt x="191143" y="139298"/>
                      <a:pt x="153647" y="167068"/>
                      <a:pt x="109231" y="173558"/>
                    </a:cubicBezTo>
                    <a:cubicBezTo>
                      <a:pt x="109231" y="173558"/>
                      <a:pt x="122661" y="189754"/>
                      <a:pt x="134693" y="206898"/>
                    </a:cubicBezTo>
                    <a:lnTo>
                      <a:pt x="212441" y="314253"/>
                    </a:lnTo>
                    <a:lnTo>
                      <a:pt x="159659" y="314253"/>
                    </a:lnTo>
                    <a:lnTo>
                      <a:pt x="159659" y="314253"/>
                    </a:lnTo>
                    <a:close/>
                    <a:moveTo>
                      <a:pt x="42588" y="146745"/>
                    </a:moveTo>
                    <a:cubicBezTo>
                      <a:pt x="42588" y="146745"/>
                      <a:pt x="60172" y="147186"/>
                      <a:pt x="75900" y="147186"/>
                    </a:cubicBezTo>
                    <a:cubicBezTo>
                      <a:pt x="121254" y="147186"/>
                      <a:pt x="146726" y="125915"/>
                      <a:pt x="146726" y="90277"/>
                    </a:cubicBezTo>
                    <a:cubicBezTo>
                      <a:pt x="146726" y="54648"/>
                      <a:pt x="122661" y="34747"/>
                      <a:pt x="77757" y="34747"/>
                    </a:cubicBezTo>
                    <a:cubicBezTo>
                      <a:pt x="60632" y="34747"/>
                      <a:pt x="42588" y="35676"/>
                      <a:pt x="42588" y="35676"/>
                    </a:cubicBezTo>
                    <a:lnTo>
                      <a:pt x="42588" y="14674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4060CC72-F136-498C-916F-7C73616E9999}"/>
                  </a:ext>
                </a:extLst>
              </p:cNvPr>
              <p:cNvSpPr/>
              <p:nvPr/>
            </p:nvSpPr>
            <p:spPr>
              <a:xfrm>
                <a:off x="11077768" y="444142"/>
                <a:ext cx="39838" cy="45195"/>
              </a:xfrm>
              <a:custGeom>
                <a:avLst/>
                <a:gdLst>
                  <a:gd name="connsiteX0" fmla="*/ 163382 w 275361"/>
                  <a:gd name="connsiteY0" fmla="*/ 312387 h 312387"/>
                  <a:gd name="connsiteX1" fmla="*/ 111538 w 275361"/>
                  <a:gd name="connsiteY1" fmla="*/ 312387 h 312387"/>
                  <a:gd name="connsiteX2" fmla="*/ 0 w 275361"/>
                  <a:gd name="connsiteY2" fmla="*/ 0 h 312387"/>
                  <a:gd name="connsiteX3" fmla="*/ 47661 w 275361"/>
                  <a:gd name="connsiteY3" fmla="*/ 0 h 312387"/>
                  <a:gd name="connsiteX4" fmla="*/ 117522 w 275361"/>
                  <a:gd name="connsiteY4" fmla="*/ 203175 h 312387"/>
                  <a:gd name="connsiteX5" fmla="*/ 138351 w 275361"/>
                  <a:gd name="connsiteY5" fmla="*/ 271206 h 312387"/>
                  <a:gd name="connsiteX6" fmla="*/ 138867 w 275361"/>
                  <a:gd name="connsiteY6" fmla="*/ 271206 h 312387"/>
                  <a:gd name="connsiteX7" fmla="*/ 160568 w 275361"/>
                  <a:gd name="connsiteY7" fmla="*/ 201309 h 312387"/>
                  <a:gd name="connsiteX8" fmla="*/ 230917 w 275361"/>
                  <a:gd name="connsiteY8" fmla="*/ 0 h 312387"/>
                  <a:gd name="connsiteX9" fmla="*/ 275361 w 275361"/>
                  <a:gd name="connsiteY9" fmla="*/ 0 h 312387"/>
                  <a:gd name="connsiteX10" fmla="*/ 163382 w 275361"/>
                  <a:gd name="connsiteY10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5361" h="312387">
                    <a:moveTo>
                      <a:pt x="163382" y="312387"/>
                    </a:moveTo>
                    <a:lnTo>
                      <a:pt x="111538" y="312387"/>
                    </a:lnTo>
                    <a:lnTo>
                      <a:pt x="0" y="0"/>
                    </a:lnTo>
                    <a:lnTo>
                      <a:pt x="47661" y="0"/>
                    </a:lnTo>
                    <a:lnTo>
                      <a:pt x="117522" y="203175"/>
                    </a:lnTo>
                    <a:cubicBezTo>
                      <a:pt x="124499" y="222598"/>
                      <a:pt x="132349" y="248989"/>
                      <a:pt x="138351" y="271206"/>
                    </a:cubicBezTo>
                    <a:lnTo>
                      <a:pt x="138867" y="271206"/>
                    </a:lnTo>
                    <a:cubicBezTo>
                      <a:pt x="144869" y="249908"/>
                      <a:pt x="152710" y="224005"/>
                      <a:pt x="160568" y="201309"/>
                    </a:cubicBezTo>
                    <a:lnTo>
                      <a:pt x="230917" y="0"/>
                    </a:lnTo>
                    <a:lnTo>
                      <a:pt x="275361" y="0"/>
                    </a:lnTo>
                    <a:lnTo>
                      <a:pt x="163382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BF02DCD4-3C40-4E7F-89ED-528B782ECD87}"/>
                  </a:ext>
                </a:extLst>
              </p:cNvPr>
              <p:cNvSpPr/>
              <p:nvPr/>
            </p:nvSpPr>
            <p:spPr>
              <a:xfrm>
                <a:off x="11138487" y="444142"/>
                <a:ext cx="6164" cy="45195"/>
              </a:xfrm>
              <a:custGeom>
                <a:avLst/>
                <a:gdLst>
                  <a:gd name="connsiteX0" fmla="*/ 0 w 42606"/>
                  <a:gd name="connsiteY0" fmla="*/ 312387 h 312387"/>
                  <a:gd name="connsiteX1" fmla="*/ 0 w 42606"/>
                  <a:gd name="connsiteY1" fmla="*/ 0 h 312387"/>
                  <a:gd name="connsiteX2" fmla="*/ 42607 w 42606"/>
                  <a:gd name="connsiteY2" fmla="*/ 0 h 312387"/>
                  <a:gd name="connsiteX3" fmla="*/ 42607 w 42606"/>
                  <a:gd name="connsiteY3" fmla="*/ 312387 h 312387"/>
                  <a:gd name="connsiteX4" fmla="*/ 0 w 42606"/>
                  <a:gd name="connsiteY4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6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42607" y="0"/>
                    </a:lnTo>
                    <a:lnTo>
                      <a:pt x="42607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2F6DCFA-C65A-472F-9C7F-C345C38B3431}"/>
                  </a:ext>
                </a:extLst>
              </p:cNvPr>
              <p:cNvSpPr/>
              <p:nvPr/>
            </p:nvSpPr>
            <p:spPr>
              <a:xfrm>
                <a:off x="11168480" y="443740"/>
                <a:ext cx="32475" cy="46135"/>
              </a:xfrm>
              <a:custGeom>
                <a:avLst/>
                <a:gdLst>
                  <a:gd name="connsiteX0" fmla="*/ 224464 w 224464"/>
                  <a:gd name="connsiteY0" fmla="*/ 306385 h 318886"/>
                  <a:gd name="connsiteX1" fmla="*/ 139777 w 224464"/>
                  <a:gd name="connsiteY1" fmla="*/ 318886 h 318886"/>
                  <a:gd name="connsiteX2" fmla="*/ 0 w 224464"/>
                  <a:gd name="connsiteY2" fmla="*/ 166158 h 318886"/>
                  <a:gd name="connsiteX3" fmla="*/ 150412 w 224464"/>
                  <a:gd name="connsiteY3" fmla="*/ 0 h 318886"/>
                  <a:gd name="connsiteX4" fmla="*/ 220760 w 224464"/>
                  <a:gd name="connsiteY4" fmla="*/ 10682 h 318886"/>
                  <a:gd name="connsiteX5" fmla="*/ 220760 w 224464"/>
                  <a:gd name="connsiteY5" fmla="*/ 52763 h 318886"/>
                  <a:gd name="connsiteX6" fmla="*/ 144888 w 224464"/>
                  <a:gd name="connsiteY6" fmla="*/ 36557 h 318886"/>
                  <a:gd name="connsiteX7" fmla="*/ 45833 w 224464"/>
                  <a:gd name="connsiteY7" fmla="*/ 161516 h 318886"/>
                  <a:gd name="connsiteX8" fmla="*/ 147636 w 224464"/>
                  <a:gd name="connsiteY8" fmla="*/ 280904 h 318886"/>
                  <a:gd name="connsiteX9" fmla="*/ 224445 w 224464"/>
                  <a:gd name="connsiteY9" fmla="*/ 268421 h 318886"/>
                  <a:gd name="connsiteX10" fmla="*/ 224464 w 224464"/>
                  <a:gd name="connsiteY10" fmla="*/ 306385 h 318886"/>
                  <a:gd name="connsiteX11" fmla="*/ 224464 w 224464"/>
                  <a:gd name="connsiteY11" fmla="*/ 306385 h 318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64" h="318886">
                    <a:moveTo>
                      <a:pt x="224464" y="306385"/>
                    </a:moveTo>
                    <a:cubicBezTo>
                      <a:pt x="199002" y="313775"/>
                      <a:pt x="170341" y="318886"/>
                      <a:pt x="139777" y="318886"/>
                    </a:cubicBezTo>
                    <a:cubicBezTo>
                      <a:pt x="42128" y="318886"/>
                      <a:pt x="0" y="255938"/>
                      <a:pt x="0" y="166158"/>
                    </a:cubicBezTo>
                    <a:cubicBezTo>
                      <a:pt x="0" y="71276"/>
                      <a:pt x="47690" y="0"/>
                      <a:pt x="150412" y="0"/>
                    </a:cubicBezTo>
                    <a:cubicBezTo>
                      <a:pt x="174468" y="0"/>
                      <a:pt x="199480" y="3714"/>
                      <a:pt x="220760" y="10682"/>
                    </a:cubicBezTo>
                    <a:lnTo>
                      <a:pt x="220760" y="52763"/>
                    </a:lnTo>
                    <a:cubicBezTo>
                      <a:pt x="195785" y="42128"/>
                      <a:pt x="169872" y="36557"/>
                      <a:pt x="144888" y="36557"/>
                    </a:cubicBezTo>
                    <a:cubicBezTo>
                      <a:pt x="75468" y="36557"/>
                      <a:pt x="45833" y="92096"/>
                      <a:pt x="45833" y="161516"/>
                    </a:cubicBezTo>
                    <a:cubicBezTo>
                      <a:pt x="45833" y="237425"/>
                      <a:pt x="79623" y="280904"/>
                      <a:pt x="147636" y="280904"/>
                    </a:cubicBezTo>
                    <a:cubicBezTo>
                      <a:pt x="170782" y="280904"/>
                      <a:pt x="200399" y="275820"/>
                      <a:pt x="224445" y="268421"/>
                    </a:cubicBezTo>
                    <a:lnTo>
                      <a:pt x="224464" y="306385"/>
                    </a:lnTo>
                    <a:lnTo>
                      <a:pt x="224464" y="306385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C64F384B-E86A-44F3-8FDA-0E41A5AF7442}"/>
                  </a:ext>
                </a:extLst>
              </p:cNvPr>
              <p:cNvSpPr/>
              <p:nvPr/>
            </p:nvSpPr>
            <p:spPr>
              <a:xfrm>
                <a:off x="11225181" y="444142"/>
                <a:ext cx="25848" cy="45195"/>
              </a:xfrm>
              <a:custGeom>
                <a:avLst/>
                <a:gdLst>
                  <a:gd name="connsiteX0" fmla="*/ 0 w 178659"/>
                  <a:gd name="connsiteY0" fmla="*/ 312387 h 312387"/>
                  <a:gd name="connsiteX1" fmla="*/ 0 w 178659"/>
                  <a:gd name="connsiteY1" fmla="*/ 0 h 312387"/>
                  <a:gd name="connsiteX2" fmla="*/ 176822 w 178659"/>
                  <a:gd name="connsiteY2" fmla="*/ 0 h 312387"/>
                  <a:gd name="connsiteX3" fmla="*/ 176822 w 178659"/>
                  <a:gd name="connsiteY3" fmla="*/ 35179 h 312387"/>
                  <a:gd name="connsiteX4" fmla="*/ 42597 w 178659"/>
                  <a:gd name="connsiteY4" fmla="*/ 35179 h 312387"/>
                  <a:gd name="connsiteX5" fmla="*/ 42597 w 178659"/>
                  <a:gd name="connsiteY5" fmla="*/ 134196 h 312387"/>
                  <a:gd name="connsiteX6" fmla="*/ 165708 w 178659"/>
                  <a:gd name="connsiteY6" fmla="*/ 134196 h 312387"/>
                  <a:gd name="connsiteX7" fmla="*/ 165708 w 178659"/>
                  <a:gd name="connsiteY7" fmla="*/ 168447 h 312387"/>
                  <a:gd name="connsiteX8" fmla="*/ 42597 w 178659"/>
                  <a:gd name="connsiteY8" fmla="*/ 168447 h 312387"/>
                  <a:gd name="connsiteX9" fmla="*/ 42597 w 178659"/>
                  <a:gd name="connsiteY9" fmla="*/ 276740 h 312387"/>
                  <a:gd name="connsiteX10" fmla="*/ 178660 w 178659"/>
                  <a:gd name="connsiteY10" fmla="*/ 276740 h 312387"/>
                  <a:gd name="connsiteX11" fmla="*/ 178660 w 178659"/>
                  <a:gd name="connsiteY11" fmla="*/ 312387 h 312387"/>
                  <a:gd name="connsiteX12" fmla="*/ 0 w 178659"/>
                  <a:gd name="connsiteY12" fmla="*/ 312387 h 31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8659" h="312387">
                    <a:moveTo>
                      <a:pt x="0" y="312387"/>
                    </a:moveTo>
                    <a:lnTo>
                      <a:pt x="0" y="0"/>
                    </a:lnTo>
                    <a:lnTo>
                      <a:pt x="176822" y="0"/>
                    </a:lnTo>
                    <a:lnTo>
                      <a:pt x="176822" y="35179"/>
                    </a:lnTo>
                    <a:lnTo>
                      <a:pt x="42597" y="35179"/>
                    </a:lnTo>
                    <a:lnTo>
                      <a:pt x="42597" y="134196"/>
                    </a:lnTo>
                    <a:lnTo>
                      <a:pt x="165708" y="134196"/>
                    </a:lnTo>
                    <a:lnTo>
                      <a:pt x="165708" y="168447"/>
                    </a:lnTo>
                    <a:lnTo>
                      <a:pt x="42597" y="168447"/>
                    </a:lnTo>
                    <a:lnTo>
                      <a:pt x="42597" y="276740"/>
                    </a:lnTo>
                    <a:lnTo>
                      <a:pt x="178660" y="276740"/>
                    </a:lnTo>
                    <a:lnTo>
                      <a:pt x="178660" y="312387"/>
                    </a:lnTo>
                    <a:lnTo>
                      <a:pt x="0" y="312387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CF0D6A6-C0E3-4372-BD94-20A7387C1798}"/>
                  </a:ext>
                </a:extLst>
              </p:cNvPr>
              <p:cNvSpPr/>
              <p:nvPr/>
            </p:nvSpPr>
            <p:spPr>
              <a:xfrm>
                <a:off x="11274858" y="443545"/>
                <a:ext cx="27114" cy="46393"/>
              </a:xfrm>
              <a:custGeom>
                <a:avLst/>
                <a:gdLst>
                  <a:gd name="connsiteX0" fmla="*/ 163363 w 187410"/>
                  <a:gd name="connsiteY0" fmla="*/ 43478 h 320668"/>
                  <a:gd name="connsiteX1" fmla="*/ 106906 w 187410"/>
                  <a:gd name="connsiteY1" fmla="*/ 35122 h 320668"/>
                  <a:gd name="connsiteX2" fmla="*/ 43507 w 187410"/>
                  <a:gd name="connsiteY2" fmla="*/ 81874 h 320668"/>
                  <a:gd name="connsiteX3" fmla="*/ 187410 w 187410"/>
                  <a:gd name="connsiteY3" fmla="*/ 229491 h 320668"/>
                  <a:gd name="connsiteX4" fmla="*/ 74972 w 187410"/>
                  <a:gd name="connsiteY4" fmla="*/ 320668 h 320668"/>
                  <a:gd name="connsiteX5" fmla="*/ 4624 w 187410"/>
                  <a:gd name="connsiteY5" fmla="*/ 312350 h 320668"/>
                  <a:gd name="connsiteX6" fmla="*/ 4624 w 187410"/>
                  <a:gd name="connsiteY6" fmla="*/ 270700 h 320668"/>
                  <a:gd name="connsiteX7" fmla="*/ 77288 w 187410"/>
                  <a:gd name="connsiteY7" fmla="*/ 284130 h 320668"/>
                  <a:gd name="connsiteX8" fmla="*/ 143003 w 187410"/>
                  <a:gd name="connsiteY8" fmla="*/ 232745 h 320668"/>
                  <a:gd name="connsiteX9" fmla="*/ 0 w 187410"/>
                  <a:gd name="connsiteY9" fmla="*/ 85138 h 320668"/>
                  <a:gd name="connsiteX10" fmla="*/ 109700 w 187410"/>
                  <a:gd name="connsiteY10" fmla="*/ 0 h 320668"/>
                  <a:gd name="connsiteX11" fmla="*/ 163363 w 187410"/>
                  <a:gd name="connsiteY11" fmla="*/ 5074 h 320668"/>
                  <a:gd name="connsiteX12" fmla="*/ 163363 w 187410"/>
                  <a:gd name="connsiteY12" fmla="*/ 43478 h 320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410" h="320668">
                    <a:moveTo>
                      <a:pt x="163363" y="43478"/>
                    </a:moveTo>
                    <a:cubicBezTo>
                      <a:pt x="146735" y="38846"/>
                      <a:pt x="124940" y="35122"/>
                      <a:pt x="106906" y="35122"/>
                    </a:cubicBezTo>
                    <a:cubicBezTo>
                      <a:pt x="65265" y="35122"/>
                      <a:pt x="43507" y="52707"/>
                      <a:pt x="43507" y="81874"/>
                    </a:cubicBezTo>
                    <a:cubicBezTo>
                      <a:pt x="43507" y="150356"/>
                      <a:pt x="187410" y="126281"/>
                      <a:pt x="187410" y="229491"/>
                    </a:cubicBezTo>
                    <a:cubicBezTo>
                      <a:pt x="187410" y="281804"/>
                      <a:pt x="148123" y="320668"/>
                      <a:pt x="74972" y="320668"/>
                    </a:cubicBezTo>
                    <a:cubicBezTo>
                      <a:pt x="49509" y="320668"/>
                      <a:pt x="24047" y="317424"/>
                      <a:pt x="4624" y="312350"/>
                    </a:cubicBezTo>
                    <a:lnTo>
                      <a:pt x="4624" y="270700"/>
                    </a:lnTo>
                    <a:cubicBezTo>
                      <a:pt x="24525" y="278578"/>
                      <a:pt x="52304" y="284130"/>
                      <a:pt x="77288" y="284130"/>
                    </a:cubicBezTo>
                    <a:cubicBezTo>
                      <a:pt x="115224" y="284130"/>
                      <a:pt x="143003" y="269312"/>
                      <a:pt x="143003" y="232745"/>
                    </a:cubicBezTo>
                    <a:cubicBezTo>
                      <a:pt x="143003" y="160569"/>
                      <a:pt x="0" y="186031"/>
                      <a:pt x="0" y="85138"/>
                    </a:cubicBezTo>
                    <a:cubicBezTo>
                      <a:pt x="0" y="35132"/>
                      <a:pt x="40281" y="0"/>
                      <a:pt x="109700" y="0"/>
                    </a:cubicBezTo>
                    <a:cubicBezTo>
                      <a:pt x="127735" y="0"/>
                      <a:pt x="146717" y="1829"/>
                      <a:pt x="163363" y="5074"/>
                    </a:cubicBezTo>
                    <a:lnTo>
                      <a:pt x="163363" y="43478"/>
                    </a:lnTo>
                    <a:close/>
                  </a:path>
                </a:pathLst>
              </a:custGeom>
              <a:solidFill>
                <a:srgbClr val="000000"/>
              </a:solidFill>
              <a:ln w="9378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E9B0C07-CCFF-4492-AB17-1EEA1AA64C90}"/>
                </a:ext>
              </a:extLst>
            </p:cNvPr>
            <p:cNvSpPr/>
            <p:nvPr/>
          </p:nvSpPr>
          <p:spPr>
            <a:xfrm>
              <a:off x="11495767" y="217992"/>
              <a:ext cx="110013" cy="135684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3FE70736-4C1A-4EF8-BE6E-68A095F005FF}"/>
                </a:ext>
              </a:extLst>
            </p:cNvPr>
            <p:cNvSpPr/>
            <p:nvPr/>
          </p:nvSpPr>
          <p:spPr>
            <a:xfrm>
              <a:off x="11377708" y="217992"/>
              <a:ext cx="82605" cy="135684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73CA265-48B5-4214-B6AF-C2669957CB55}"/>
                </a:ext>
              </a:extLst>
            </p:cNvPr>
            <p:cNvSpPr/>
            <p:nvPr/>
          </p:nvSpPr>
          <p:spPr>
            <a:xfrm>
              <a:off x="11222165" y="215982"/>
              <a:ext cx="115257" cy="139702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C9B0B71-62A2-491A-90B7-6A8D62E1B857}"/>
                </a:ext>
              </a:extLst>
            </p:cNvPr>
            <p:cNvSpPr/>
            <p:nvPr/>
          </p:nvSpPr>
          <p:spPr>
            <a:xfrm>
              <a:off x="11082133" y="217992"/>
              <a:ext cx="125326" cy="135684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3CC2CD80-AB55-4A53-B941-CD27B0FCDF69}"/>
                </a:ext>
              </a:extLst>
            </p:cNvPr>
            <p:cNvSpPr/>
            <p:nvPr/>
          </p:nvSpPr>
          <p:spPr>
            <a:xfrm>
              <a:off x="10892952" y="217992"/>
              <a:ext cx="183158" cy="135684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93F9139-8169-493A-839D-DC7D9A477DF7}"/>
                </a:ext>
              </a:extLst>
            </p:cNvPr>
            <p:cNvSpPr/>
            <p:nvPr/>
          </p:nvSpPr>
          <p:spPr>
            <a:xfrm>
              <a:off x="10790808" y="215782"/>
              <a:ext cx="86237" cy="140104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ED64990-1D86-4670-82D3-0EDB13B3B40B}"/>
                </a:ext>
              </a:extLst>
            </p:cNvPr>
            <p:cNvSpPr/>
            <p:nvPr/>
          </p:nvSpPr>
          <p:spPr>
            <a:xfrm>
              <a:off x="10669521" y="217992"/>
              <a:ext cx="106389" cy="135684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5D139CD2-E253-49E4-B865-9E75F74E394D}"/>
                </a:ext>
              </a:extLst>
            </p:cNvPr>
            <p:cNvSpPr/>
            <p:nvPr/>
          </p:nvSpPr>
          <p:spPr>
            <a:xfrm>
              <a:off x="10568581" y="217992"/>
              <a:ext cx="75762" cy="135684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5BD963B-21FF-40BA-BBE4-CAFB06B15317}"/>
                </a:ext>
              </a:extLst>
            </p:cNvPr>
            <p:cNvSpPr/>
            <p:nvPr/>
          </p:nvSpPr>
          <p:spPr>
            <a:xfrm>
              <a:off x="10409821" y="215783"/>
              <a:ext cx="129158" cy="14010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10F76FB5-4F6A-4A75-A5B4-4CCA86FDFE87}"/>
                </a:ext>
              </a:extLst>
            </p:cNvPr>
            <p:cNvSpPr/>
            <p:nvPr/>
          </p:nvSpPr>
          <p:spPr>
            <a:xfrm>
              <a:off x="10272618" y="217992"/>
              <a:ext cx="125328" cy="135684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solidFill>
              <a:srgbClr val="4C5356"/>
            </a:solidFill>
            <a:ln w="937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389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9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69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21800" y="3297239"/>
            <a:ext cx="109369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69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3365732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 bwMode="gray">
          <a:xfrm>
            <a:off x="632477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9283811" y="2482850"/>
            <a:ext cx="2908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48043" y="6704811"/>
            <a:ext cx="789933" cy="90489"/>
          </a:xfrm>
        </p:spPr>
        <p:txBody>
          <a:bodyPr/>
          <a:lstStyle/>
          <a:p>
            <a:fld id="{B7A8B86B-E355-4062-AE3C-E135DE6B0DBC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65732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2477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83811" y="4278313"/>
            <a:ext cx="2908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170121" y="3297239"/>
            <a:ext cx="110440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33349" y="3297239"/>
            <a:ext cx="1100221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081670" y="3297239"/>
            <a:ext cx="1110329" cy="830262"/>
          </a:xfrm>
        </p:spPr>
        <p:txBody>
          <a:bodyPr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6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84E2583A-30F9-4E00-9212-93278AA93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1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062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5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9216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56826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978088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826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52285863-34F3-4037-9257-79FAA6F7896F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3003347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2D6A6987-98E5-4948-98FF-378A0F0F28A8}"/>
              </a:ext>
            </a:extLst>
          </p:cNvPr>
          <p:cNvSpPr>
            <a:spLocks noGrp="1"/>
          </p:cNvSpPr>
          <p:nvPr userDrawn="1">
            <p:ph type="pic" sz="quarter" idx="19"/>
          </p:nvPr>
        </p:nvSpPr>
        <p:spPr>
          <a:xfrm>
            <a:off x="594986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D56671A-53C6-4AE1-93BA-031DDCADD3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96388" y="2482850"/>
            <a:ext cx="2894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1CABB1-15C8-4A23-850E-A9216E10FF94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91912" y="6704812"/>
            <a:ext cx="295276" cy="90488"/>
          </a:xfrm>
        </p:spPr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1D1B1D0F-ECC5-4D3E-8CA2-DA7D653BBB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003347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5F02849C-D055-4B3B-8D5F-35C92133BD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4986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30B59DB7-127D-4C99-9A62-E82E28F3179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896388" y="4278313"/>
            <a:ext cx="2894013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8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31">
            <a:extLst>
              <a:ext uri="{FF2B5EF4-FFF2-40B4-BE49-F238E27FC236}">
                <a16:creationId xmlns:a16="http://schemas.microsoft.com/office/drawing/2014/main" id="{BA6505E2-8751-470E-8D67-F8B6145F62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924609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34" name="Textplatzhalter 31">
            <a:extLst>
              <a:ext uri="{FF2B5EF4-FFF2-40B4-BE49-F238E27FC236}">
                <a16:creationId xmlns:a16="http://schemas.microsoft.com/office/drawing/2014/main" id="{5F2436B6-561E-495C-A41C-07843C3C9C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87113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C8F6D38F-4AC8-4DF0-82B4-5392D94271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0817650" y="3297239"/>
            <a:ext cx="973138" cy="830262"/>
          </a:xfrm>
        </p:spPr>
        <p:txBody>
          <a:bodyPr vert="horz" lIns="0" tIns="0" rIns="108000" bIns="0" rtlCol="0">
            <a:noAutofit/>
          </a:bodyPr>
          <a:lstStyle>
            <a:lvl1pPr>
              <a:defRPr lang="de-DE" sz="66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A010A517-52DE-482F-BBF6-A02C650B61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2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740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1417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09499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877200" y="2482850"/>
            <a:ext cx="23148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8675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Nr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39F45E0-66CE-4271-9B54-A2B6193E7487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7740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417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509499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77200" y="4278313"/>
            <a:ext cx="23148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2352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6029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970606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1338307" y="3448051"/>
            <a:ext cx="853693" cy="679449"/>
          </a:xfrm>
        </p:spPr>
        <p:txBody>
          <a:bodyPr wrap="none" lIns="0" rIns="108000"/>
          <a:lstStyle>
            <a:lvl1pPr marL="0" indent="0" algn="r" defTabSz="914400" rtl="0" eaLnBrk="1" latinLnBrk="0" hangingPunct="1">
              <a:lnSpc>
                <a:spcPct val="110000"/>
              </a:lnSpc>
              <a:spcAft>
                <a:spcPts val="450"/>
              </a:spcAft>
              <a:buNone/>
              <a:defRPr lang="de-DE" sz="5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 err="1"/>
              <a:t>Nr</a:t>
            </a:r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EAB09F62-155D-4DC2-84A3-A0D7A394A6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49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6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5930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A8B88ED0-621F-4016-936F-FCBDE327072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402422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6" name="Bildplatzhalter 2">
            <a:extLst>
              <a:ext uri="{FF2B5EF4-FFF2-40B4-BE49-F238E27FC236}">
                <a16:creationId xmlns:a16="http://schemas.microsoft.com/office/drawing/2014/main" id="{FDFECEEC-969D-4416-8E6E-30CDAA827BE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758914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7" name="Bildplatzhalter 2">
            <a:extLst>
              <a:ext uri="{FF2B5EF4-FFF2-40B4-BE49-F238E27FC236}">
                <a16:creationId xmlns:a16="http://schemas.microsoft.com/office/drawing/2014/main" id="{20858FA0-9490-4EE6-84A6-B5802EEC697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15406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8" name="Bildplatzhalter 2">
            <a:extLst>
              <a:ext uri="{FF2B5EF4-FFF2-40B4-BE49-F238E27FC236}">
                <a16:creationId xmlns:a16="http://schemas.microsoft.com/office/drawing/2014/main" id="{FF71FA2E-4AA7-4F48-BA58-858E9E440A45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471899" y="2482850"/>
            <a:ext cx="23040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53767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930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7EFBA4-5FE7-4300-8126-3A80FE379D89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4A8E0CBB-0727-453D-BACE-CD68C757414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402422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3E82AFD7-963F-4DCA-A4BD-D4CFF29CC8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58914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2D5E245D-5791-47C6-B3BD-0CF573D2232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15406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E553A77D-F480-425F-8276-E4F80CE544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71899" y="4278313"/>
            <a:ext cx="2304000" cy="554037"/>
          </a:xfrm>
        </p:spPr>
        <p:txBody>
          <a:bodyPr rIns="180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6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2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3C2272B7-4B8A-42F0-AAE4-EB624A77C5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910259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0CA952A7-65CF-45B1-ADC8-8C74C02E129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266751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5" name="Textplatzhalter 31">
            <a:extLst>
              <a:ext uri="{FF2B5EF4-FFF2-40B4-BE49-F238E27FC236}">
                <a16:creationId xmlns:a16="http://schemas.microsoft.com/office/drawing/2014/main" id="{878748E8-C790-4A40-968B-38BAC091BA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243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FA36C90D-61E5-49ED-9550-7F3A3C8FD06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0979736" y="3448051"/>
            <a:ext cx="796163" cy="679449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4" name="Fußzeilenplatzhalter 4">
            <a:extLst>
              <a:ext uri="{FF2B5EF4-FFF2-40B4-BE49-F238E27FC236}">
                <a16:creationId xmlns:a16="http://schemas.microsoft.com/office/drawing/2014/main" id="{1B3AF3CB-6E88-47AE-AF1F-0BDC3AC4A1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1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92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1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BB40FA-A6DF-412F-A3FF-CE1F1D66B907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406399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FAD2C9EC-A404-40B4-B5FD-58574029319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378988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391D95C0-852E-4A57-A6A7-4B1E29521E1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4351577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EA54D829-207B-48B7-B63C-C460979627A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324166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1" name="Bildplatzhalter 2">
            <a:extLst>
              <a:ext uri="{FF2B5EF4-FFF2-40B4-BE49-F238E27FC236}">
                <a16:creationId xmlns:a16="http://schemas.microsoft.com/office/drawing/2014/main" id="{F86EAF73-6C26-4CAF-86AF-4F4A93A4591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296755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2" name="Bildplatzhalter 2">
            <a:extLst>
              <a:ext uri="{FF2B5EF4-FFF2-40B4-BE49-F238E27FC236}">
                <a16:creationId xmlns:a16="http://schemas.microsoft.com/office/drawing/2014/main" id="{96BB7397-446D-404D-9AB6-DC910A2F94D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10269342" y="2482850"/>
            <a:ext cx="1922400" cy="1644650"/>
          </a:xfrm>
          <a:pattFill prst="ltUpDiag">
            <a:fgClr>
              <a:srgbClr val="4C5356"/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B5BAE1A-5A96-4F30-9D45-13EEDA26AA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533199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554B3B8-7CE1-424C-BAC3-7908386D74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1942C93-2A45-43BA-8880-00412BA1F01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CF849CE-E2B3-481C-B891-39903E20B5FF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5C37F3-0A12-4E44-BBD8-9870F2BC43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96688425-014E-482C-99E2-244B208F551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37715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B1FA8C5C-52A7-4A6E-B522-9BE5909499D3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34791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7" name="Textplatzhalter 22">
            <a:extLst>
              <a:ext uri="{FF2B5EF4-FFF2-40B4-BE49-F238E27FC236}">
                <a16:creationId xmlns:a16="http://schemas.microsoft.com/office/drawing/2014/main" id="{4687E76B-90EA-48D7-83BB-9384B63D58A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31867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8" name="Textplatzhalter 22">
            <a:extLst>
              <a:ext uri="{FF2B5EF4-FFF2-40B4-BE49-F238E27FC236}">
                <a16:creationId xmlns:a16="http://schemas.microsoft.com/office/drawing/2014/main" id="{854E7047-2EB6-4333-8AFC-E63108A82436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289439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0602289A-5675-4DC8-9082-FEF8048629A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260198" y="4278313"/>
            <a:ext cx="1922400" cy="554037"/>
          </a:xfrm>
        </p:spPr>
        <p:txBody>
          <a:bodyPr rIns="108000"/>
          <a:lstStyle>
            <a:lvl1pPr marL="0" indent="0" algn="l" defTabSz="914400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1400" kern="12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9995" indent="0">
              <a:lnSpc>
                <a:spcPct val="100000"/>
              </a:lnSpc>
              <a:spcAft>
                <a:spcPts val="0"/>
              </a:spcAft>
              <a:buNone/>
              <a:defRPr sz="1100">
                <a:latin typeface="+mn-lt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B140ADCF-882F-4794-9BFA-F27F941B2DA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505788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CD46AC46-7CC9-4463-9DDC-035C19F74A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478377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2" name="Textplatzhalter 31">
            <a:extLst>
              <a:ext uri="{FF2B5EF4-FFF2-40B4-BE49-F238E27FC236}">
                <a16:creationId xmlns:a16="http://schemas.microsoft.com/office/drawing/2014/main" id="{30500A88-F864-4D5A-9EBB-3CD52EF2BDA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450966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3" name="Textplatzhalter 31">
            <a:extLst>
              <a:ext uri="{FF2B5EF4-FFF2-40B4-BE49-F238E27FC236}">
                <a16:creationId xmlns:a16="http://schemas.microsoft.com/office/drawing/2014/main" id="{9726E764-D871-4772-B4FA-944BA494537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9423555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64" name="Textplatzhalter 31">
            <a:extLst>
              <a:ext uri="{FF2B5EF4-FFF2-40B4-BE49-F238E27FC236}">
                <a16:creationId xmlns:a16="http://schemas.microsoft.com/office/drawing/2014/main" id="{A099615A-9F6D-4D5F-9F4B-8774CDA45F7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396142" y="3447100"/>
            <a:ext cx="795600" cy="680400"/>
          </a:xfrm>
        </p:spPr>
        <p:txBody>
          <a:bodyPr vert="horz" wrap="none" lIns="0" tIns="0" rIns="108000" bIns="0" rtlCol="0">
            <a:noAutofit/>
          </a:bodyPr>
          <a:lstStyle>
            <a:lvl1pPr>
              <a:defRPr lang="de-DE" sz="5400" b="1" dirty="0">
                <a:solidFill>
                  <a:schemeClr val="bg1"/>
                </a:solidFill>
              </a:defRPr>
            </a:lvl1pPr>
          </a:lstStyle>
          <a:p>
            <a:pPr marL="0" lvl="0" indent="0" algn="r" defTabSz="914400">
              <a:spcAft>
                <a:spcPts val="450"/>
              </a:spcAft>
              <a:buNone/>
            </a:pPr>
            <a:r>
              <a:rPr lang="de-DE" dirty="0" err="1"/>
              <a:t>Nr</a:t>
            </a:r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01902129-757E-4C4F-A8B9-B0DF1BD5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sp>
        <p:nvSpPr>
          <p:cNvPr id="24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0510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6F9EF73C-6EF2-4F0D-B0B6-4471060BE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06700" y="6705300"/>
            <a:ext cx="65772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dirty="0"/>
            </a:lvl1pPr>
          </a:lstStyle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 dirty="0"/>
              <a:t>A-GKST  |  KSU-Klasse: 0.2 – 4 Jahre </a:t>
            </a: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336506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49" imgW="592" imgH="591" progId="TCLayout.ActiveDocument.1">
                  <p:embed/>
                </p:oleObj>
              </mc:Choice>
              <mc:Fallback>
                <p:oleObj name="think-cell Slide" r:id="rId49" imgW="592" imgH="591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1800" b="1" i="0" baseline="0" dirty="0" err="1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6400" y="1223172"/>
            <a:ext cx="11380788" cy="52298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8043" y="6704811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DB1555B-AC4D-46A5-A31D-AFB96B318FF0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1912" y="6704812"/>
            <a:ext cx="295276" cy="904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EA6AC58-99FC-40D1-8A10-4777F7BB728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FB92854F-F5C8-423C-9CA7-1B9CC02968A2}"/>
              </a:ext>
            </a:extLst>
          </p:cNvPr>
          <p:cNvCxnSpPr/>
          <p:nvPr/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9FE369FD-C5A3-4E3C-B8BA-D72D8F68AEAA}"/>
              </a:ext>
            </a:extLst>
          </p:cNvPr>
          <p:cNvSpPr txBox="1"/>
          <p:nvPr userDrawn="1"/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03C6CBF-8E31-4CFA-9EAE-194D27AAC193}"/>
              </a:ext>
            </a:extLst>
          </p:cNvPr>
          <p:cNvCxnSpPr/>
          <p:nvPr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6FF8DFF4-F002-47DD-829A-25267E472684}"/>
              </a:ext>
            </a:extLst>
          </p:cNvPr>
          <p:cNvCxnSpPr>
            <a:cxnSpLocks/>
          </p:cNvCxnSpPr>
          <p:nvPr/>
        </p:nvCxnSpPr>
        <p:spPr>
          <a:xfrm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>
            <a:extLst>
              <a:ext uri="{FF2B5EF4-FFF2-40B4-BE49-F238E27FC236}">
                <a16:creationId xmlns:a16="http://schemas.microsoft.com/office/drawing/2014/main" id="{4A308209-A9A0-4E6C-888B-3BF41391247E}"/>
              </a:ext>
            </a:extLst>
          </p:cNvPr>
          <p:cNvSpPr txBox="1"/>
          <p:nvPr/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C56C104E-9598-4353-A282-2DA15F6EDF65}"/>
              </a:ext>
            </a:extLst>
          </p:cNvPr>
          <p:cNvCxnSpPr/>
          <p:nvPr/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feld 102">
            <a:extLst>
              <a:ext uri="{FF2B5EF4-FFF2-40B4-BE49-F238E27FC236}">
                <a16:creationId xmlns:a16="http://schemas.microsoft.com/office/drawing/2014/main" id="{C44D2080-9535-44EE-B3E8-27D91E7EABBA}"/>
              </a:ext>
            </a:extLst>
          </p:cNvPr>
          <p:cNvSpPr txBox="1"/>
          <p:nvPr userDrawn="1"/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5,40</a:t>
            </a:r>
          </a:p>
        </p:txBody>
      </p: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FF93B73E-EA98-42FA-813A-179E13DA82AA}"/>
              </a:ext>
            </a:extLst>
          </p:cNvPr>
          <p:cNvCxnSpPr/>
          <p:nvPr/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feld 115">
            <a:extLst>
              <a:ext uri="{FF2B5EF4-FFF2-40B4-BE49-F238E27FC236}">
                <a16:creationId xmlns:a16="http://schemas.microsoft.com/office/drawing/2014/main" id="{3D3DF4FC-101E-4F39-B754-7A4A8E53C478}"/>
              </a:ext>
            </a:extLst>
          </p:cNvPr>
          <p:cNvSpPr txBox="1"/>
          <p:nvPr userDrawn="1"/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6,13</a:t>
            </a:r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6204CE75-B3E8-40CF-B208-70D6D83DB1F0}"/>
              </a:ext>
            </a:extLst>
          </p:cNvPr>
          <p:cNvCxnSpPr/>
          <p:nvPr/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13BD65B4-8341-4966-957B-FDFA1A727DA7}"/>
              </a:ext>
            </a:extLst>
          </p:cNvPr>
          <p:cNvCxnSpPr/>
          <p:nvPr/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744AC837-3BDB-488E-9A9D-1161731A1CDD}"/>
              </a:ext>
            </a:extLst>
          </p:cNvPr>
          <p:cNvSpPr txBox="1"/>
          <p:nvPr userDrawn="1"/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9,19</a:t>
            </a:r>
          </a:p>
        </p:txBody>
      </p: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08F1DC17-628C-441C-9AB8-171337F7E846}"/>
              </a:ext>
            </a:extLst>
          </p:cNvPr>
          <p:cNvCxnSpPr/>
          <p:nvPr/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121">
            <a:extLst>
              <a:ext uri="{FF2B5EF4-FFF2-40B4-BE49-F238E27FC236}">
                <a16:creationId xmlns:a16="http://schemas.microsoft.com/office/drawing/2014/main" id="{E9680D84-0E3A-4DC5-B33E-2097A384EBA5}"/>
              </a:ext>
            </a:extLst>
          </p:cNvPr>
          <p:cNvSpPr txBox="1"/>
          <p:nvPr userDrawn="1"/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94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A6F5FFE-7F7D-42F0-9B75-1115F9C258F7}"/>
              </a:ext>
            </a:extLst>
          </p:cNvPr>
          <p:cNvSpPr txBox="1"/>
          <p:nvPr userDrawn="1"/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8,40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A9174C0-0633-49AF-94CD-F74D90533C0E}"/>
              </a:ext>
            </a:extLst>
          </p:cNvPr>
          <p:cNvCxnSpPr/>
          <p:nvPr userDrawn="1"/>
        </p:nvCxnSpPr>
        <p:spPr>
          <a:xfrm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feld 112">
            <a:extLst>
              <a:ext uri="{FF2B5EF4-FFF2-40B4-BE49-F238E27FC236}">
                <a16:creationId xmlns:a16="http://schemas.microsoft.com/office/drawing/2014/main" id="{E93FEA7D-D594-4020-86F7-426D26F38946}"/>
              </a:ext>
            </a:extLst>
          </p:cNvPr>
          <p:cNvSpPr txBox="1"/>
          <p:nvPr userDrawn="1"/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 dirty="0"/>
              <a:t>15,81</a:t>
            </a:r>
          </a:p>
        </p:txBody>
      </p:sp>
      <p:sp>
        <p:nvSpPr>
          <p:cNvPr id="30" name="Titel 6">
            <a:extLst>
              <a:ext uri="{FF2B5EF4-FFF2-40B4-BE49-F238E27FC236}">
                <a16:creationId xmlns:a16="http://schemas.microsoft.com/office/drawing/2014/main" id="{496D11EB-E2CC-4A21-B749-E254AC06D3ED}"/>
              </a:ext>
            </a:extLst>
          </p:cNvPr>
          <p:cNvSpPr txBox="1">
            <a:spLocks/>
          </p:cNvSpPr>
          <p:nvPr userDrawn="1"/>
        </p:nvSpPr>
        <p:spPr>
          <a:xfrm>
            <a:off x="406401" y="408271"/>
            <a:ext cx="7315862" cy="269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000" b="0" i="0" spc="300" dirty="0">
                <a:solidFill>
                  <a:schemeClr val="accent4"/>
                </a:solidFill>
                <a:latin typeface="VWAG TheSans" panose="020B0502050302020203" pitchFamily="34" charset="0"/>
              </a:rPr>
              <a:t>VOLKSWAGEN GROUP SERVICES</a:t>
            </a:r>
            <a:r>
              <a:rPr lang="de-DE" sz="1000" b="0" i="0" spc="300" baseline="0" dirty="0">
                <a:solidFill>
                  <a:schemeClr val="accent4"/>
                </a:solidFill>
                <a:latin typeface="VWAG TheSans" panose="020B0502050302020203" pitchFamily="34" charset="0"/>
              </a:rPr>
              <a:t> GMBH</a:t>
            </a:r>
            <a:endParaRPr lang="de-DE" sz="1000" b="0" i="0" spc="300" dirty="0">
              <a:solidFill>
                <a:schemeClr val="accent4"/>
              </a:solidFill>
              <a:latin typeface="VWAG TheSans" panose="020B0502050302020203" pitchFamily="34" charset="0"/>
            </a:endParaRPr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5EF5110-A6C7-48D0-AA0C-BAF58A6383E9}"/>
              </a:ext>
            </a:extLst>
          </p:cNvPr>
          <p:cNvGrpSpPr/>
          <p:nvPr userDrawn="1"/>
        </p:nvGrpSpPr>
        <p:grpSpPr>
          <a:xfrm>
            <a:off x="10272618" y="215782"/>
            <a:ext cx="1333162" cy="274229"/>
            <a:chOff x="1876761" y="2475875"/>
            <a:chExt cx="9214770" cy="1895462"/>
          </a:xfrm>
          <a:solidFill>
            <a:schemeClr val="bg1"/>
          </a:solidFill>
        </p:grpSpPr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BA4FB43-DE83-4A5E-B658-FD38FF0FC092}"/>
                </a:ext>
              </a:extLst>
            </p:cNvPr>
            <p:cNvSpPr/>
            <p:nvPr/>
          </p:nvSpPr>
          <p:spPr>
            <a:xfrm>
              <a:off x="4156975" y="4050135"/>
              <a:ext cx="258235" cy="320715"/>
            </a:xfrm>
            <a:custGeom>
              <a:avLst/>
              <a:gdLst>
                <a:gd name="connsiteX0" fmla="*/ 258236 w 258235"/>
                <a:gd name="connsiteY0" fmla="*/ 302680 h 320715"/>
                <a:gd name="connsiteX1" fmla="*/ 155035 w 258235"/>
                <a:gd name="connsiteY1" fmla="*/ 320715 h 320715"/>
                <a:gd name="connsiteX2" fmla="*/ 0 w 258235"/>
                <a:gd name="connsiteY2" fmla="*/ 166618 h 320715"/>
                <a:gd name="connsiteX3" fmla="*/ 167987 w 258235"/>
                <a:gd name="connsiteY3" fmla="*/ 0 h 320715"/>
                <a:gd name="connsiteX4" fmla="*/ 247582 w 258235"/>
                <a:gd name="connsiteY4" fmla="*/ 11095 h 320715"/>
                <a:gd name="connsiteX5" fmla="*/ 247582 w 258235"/>
                <a:gd name="connsiteY5" fmla="*/ 52735 h 320715"/>
                <a:gd name="connsiteX6" fmla="*/ 163813 w 258235"/>
                <a:gd name="connsiteY6" fmla="*/ 36538 h 320715"/>
                <a:gd name="connsiteX7" fmla="*/ 45345 w 258235"/>
                <a:gd name="connsiteY7" fmla="*/ 160569 h 320715"/>
                <a:gd name="connsiteX8" fmla="*/ 161037 w 258235"/>
                <a:gd name="connsiteY8" fmla="*/ 283680 h 320715"/>
                <a:gd name="connsiteX9" fmla="*/ 216117 w 258235"/>
                <a:gd name="connsiteY9" fmla="*/ 275361 h 320715"/>
                <a:gd name="connsiteX10" fmla="*/ 216117 w 258235"/>
                <a:gd name="connsiteY10" fmla="*/ 157333 h 320715"/>
                <a:gd name="connsiteX11" fmla="*/ 258227 w 258235"/>
                <a:gd name="connsiteY11" fmla="*/ 157333 h 320715"/>
                <a:gd name="connsiteX12" fmla="*/ 258227 w 258235"/>
                <a:gd name="connsiteY12" fmla="*/ 302680 h 320715"/>
                <a:gd name="connsiteX13" fmla="*/ 258236 w 258235"/>
                <a:gd name="connsiteY13" fmla="*/ 302680 h 32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8235" h="320715">
                  <a:moveTo>
                    <a:pt x="258236" y="302680"/>
                  </a:moveTo>
                  <a:cubicBezTo>
                    <a:pt x="227212" y="314235"/>
                    <a:pt x="189276" y="320715"/>
                    <a:pt x="155035" y="320715"/>
                  </a:cubicBezTo>
                  <a:cubicBezTo>
                    <a:pt x="57387" y="320715"/>
                    <a:pt x="0" y="261950"/>
                    <a:pt x="0" y="166618"/>
                  </a:cubicBezTo>
                  <a:cubicBezTo>
                    <a:pt x="0" y="69888"/>
                    <a:pt x="57387" y="0"/>
                    <a:pt x="167987" y="0"/>
                  </a:cubicBezTo>
                  <a:cubicBezTo>
                    <a:pt x="194828" y="0"/>
                    <a:pt x="223526" y="4614"/>
                    <a:pt x="247582" y="11095"/>
                  </a:cubicBezTo>
                  <a:lnTo>
                    <a:pt x="247582" y="52735"/>
                  </a:lnTo>
                  <a:cubicBezTo>
                    <a:pt x="221210" y="42090"/>
                    <a:pt x="190664" y="36538"/>
                    <a:pt x="163813" y="36538"/>
                  </a:cubicBezTo>
                  <a:cubicBezTo>
                    <a:pt x="79604" y="36538"/>
                    <a:pt x="45345" y="95773"/>
                    <a:pt x="45345" y="160569"/>
                  </a:cubicBezTo>
                  <a:cubicBezTo>
                    <a:pt x="45345" y="238325"/>
                    <a:pt x="88392" y="283680"/>
                    <a:pt x="161037" y="283680"/>
                  </a:cubicBezTo>
                  <a:cubicBezTo>
                    <a:pt x="181858" y="283680"/>
                    <a:pt x="199452" y="280444"/>
                    <a:pt x="216117" y="275361"/>
                  </a:cubicBezTo>
                  <a:lnTo>
                    <a:pt x="216117" y="157333"/>
                  </a:lnTo>
                  <a:lnTo>
                    <a:pt x="258227" y="157333"/>
                  </a:lnTo>
                  <a:lnTo>
                    <a:pt x="258227" y="302680"/>
                  </a:lnTo>
                  <a:lnTo>
                    <a:pt x="258236" y="302680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4D12FE4-1771-4007-B0C1-BADE09CE193A}"/>
                </a:ext>
              </a:extLst>
            </p:cNvPr>
            <p:cNvSpPr/>
            <p:nvPr/>
          </p:nvSpPr>
          <p:spPr>
            <a:xfrm>
              <a:off x="4603061" y="4052423"/>
              <a:ext cx="212431" cy="314253"/>
            </a:xfrm>
            <a:custGeom>
              <a:avLst/>
              <a:gdLst>
                <a:gd name="connsiteX0" fmla="*/ 159659 w 212431"/>
                <a:gd name="connsiteY0" fmla="*/ 314253 h 314253"/>
                <a:gd name="connsiteX1" fmla="*/ 65255 w 212431"/>
                <a:gd name="connsiteY1" fmla="*/ 179119 h 314253"/>
                <a:gd name="connsiteX2" fmla="*/ 42587 w 212431"/>
                <a:gd name="connsiteY2" fmla="*/ 179119 h 314253"/>
                <a:gd name="connsiteX3" fmla="*/ 42587 w 212431"/>
                <a:gd name="connsiteY3" fmla="*/ 314253 h 314253"/>
                <a:gd name="connsiteX4" fmla="*/ 0 w 212431"/>
                <a:gd name="connsiteY4" fmla="*/ 314253 h 314253"/>
                <a:gd name="connsiteX5" fmla="*/ 0 w 212431"/>
                <a:gd name="connsiteY5" fmla="*/ 2326 h 314253"/>
                <a:gd name="connsiteX6" fmla="*/ 81461 w 212431"/>
                <a:gd name="connsiteY6" fmla="*/ 0 h 314253"/>
                <a:gd name="connsiteX7" fmla="*/ 191142 w 212431"/>
                <a:gd name="connsiteY7" fmla="*/ 85175 h 314253"/>
                <a:gd name="connsiteX8" fmla="*/ 109222 w 212431"/>
                <a:gd name="connsiteY8" fmla="*/ 173558 h 314253"/>
                <a:gd name="connsiteX9" fmla="*/ 134684 w 212431"/>
                <a:gd name="connsiteY9" fmla="*/ 206898 h 314253"/>
                <a:gd name="connsiteX10" fmla="*/ 212432 w 212431"/>
                <a:gd name="connsiteY10" fmla="*/ 314253 h 314253"/>
                <a:gd name="connsiteX11" fmla="*/ 159659 w 212431"/>
                <a:gd name="connsiteY11" fmla="*/ 314253 h 314253"/>
                <a:gd name="connsiteX12" fmla="*/ 159659 w 212431"/>
                <a:gd name="connsiteY12" fmla="*/ 314253 h 314253"/>
                <a:gd name="connsiteX13" fmla="*/ 42587 w 212431"/>
                <a:gd name="connsiteY13" fmla="*/ 146745 h 314253"/>
                <a:gd name="connsiteX14" fmla="*/ 75909 w 212431"/>
                <a:gd name="connsiteY14" fmla="*/ 147186 h 314253"/>
                <a:gd name="connsiteX15" fmla="*/ 146716 w 212431"/>
                <a:gd name="connsiteY15" fmla="*/ 90277 h 314253"/>
                <a:gd name="connsiteX16" fmla="*/ 77757 w 212431"/>
                <a:gd name="connsiteY16" fmla="*/ 34747 h 314253"/>
                <a:gd name="connsiteX17" fmla="*/ 42587 w 212431"/>
                <a:gd name="connsiteY17" fmla="*/ 35676 h 314253"/>
                <a:gd name="connsiteX18" fmla="*/ 42587 w 21243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31" h="314253">
                  <a:moveTo>
                    <a:pt x="159659" y="314253"/>
                  </a:moveTo>
                  <a:lnTo>
                    <a:pt x="65255" y="179119"/>
                  </a:lnTo>
                  <a:lnTo>
                    <a:pt x="42587" y="179119"/>
                  </a:lnTo>
                  <a:lnTo>
                    <a:pt x="42587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190" y="0"/>
                    <a:pt x="81461" y="0"/>
                  </a:cubicBezTo>
                  <a:cubicBezTo>
                    <a:pt x="146716" y="0"/>
                    <a:pt x="191142" y="25462"/>
                    <a:pt x="191142" y="85175"/>
                  </a:cubicBezTo>
                  <a:cubicBezTo>
                    <a:pt x="191142" y="139298"/>
                    <a:pt x="153647" y="167068"/>
                    <a:pt x="109222" y="173558"/>
                  </a:cubicBezTo>
                  <a:cubicBezTo>
                    <a:pt x="109222" y="173558"/>
                    <a:pt x="122652" y="189754"/>
                    <a:pt x="134684" y="206898"/>
                  </a:cubicBezTo>
                  <a:lnTo>
                    <a:pt x="212432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7" y="146745"/>
                  </a:moveTo>
                  <a:cubicBezTo>
                    <a:pt x="42587" y="146745"/>
                    <a:pt x="60172" y="147186"/>
                    <a:pt x="75909" y="147186"/>
                  </a:cubicBezTo>
                  <a:cubicBezTo>
                    <a:pt x="121254" y="147186"/>
                    <a:pt x="146716" y="125915"/>
                    <a:pt x="146716" y="90277"/>
                  </a:cubicBezTo>
                  <a:cubicBezTo>
                    <a:pt x="146716" y="54648"/>
                    <a:pt x="122652" y="34747"/>
                    <a:pt x="77757" y="34747"/>
                  </a:cubicBezTo>
                  <a:cubicBezTo>
                    <a:pt x="60632" y="34747"/>
                    <a:pt x="42587" y="35676"/>
                    <a:pt x="42587" y="35676"/>
                  </a:cubicBezTo>
                  <a:lnTo>
                    <a:pt x="42587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CD35A9E-5FBC-466D-994F-F37E329BB421}"/>
                </a:ext>
              </a:extLst>
            </p:cNvPr>
            <p:cNvSpPr/>
            <p:nvPr/>
          </p:nvSpPr>
          <p:spPr>
            <a:xfrm>
              <a:off x="4951958" y="4049684"/>
              <a:ext cx="288782" cy="321653"/>
            </a:xfrm>
            <a:custGeom>
              <a:avLst/>
              <a:gdLst>
                <a:gd name="connsiteX0" fmla="*/ 140218 w 288782"/>
                <a:gd name="connsiteY0" fmla="*/ 321653 h 321653"/>
                <a:gd name="connsiteX1" fmla="*/ 0 w 288782"/>
                <a:gd name="connsiteY1" fmla="*/ 165192 h 321653"/>
                <a:gd name="connsiteX2" fmla="*/ 148564 w 288782"/>
                <a:gd name="connsiteY2" fmla="*/ 0 h 321653"/>
                <a:gd name="connsiteX3" fmla="*/ 288782 w 288782"/>
                <a:gd name="connsiteY3" fmla="*/ 156414 h 321653"/>
                <a:gd name="connsiteX4" fmla="*/ 140218 w 288782"/>
                <a:gd name="connsiteY4" fmla="*/ 321653 h 321653"/>
                <a:gd name="connsiteX5" fmla="*/ 144382 w 288782"/>
                <a:gd name="connsiteY5" fmla="*/ 37486 h 321653"/>
                <a:gd name="connsiteX6" fmla="*/ 44885 w 288782"/>
                <a:gd name="connsiteY6" fmla="*/ 158721 h 321653"/>
                <a:gd name="connsiteX7" fmla="*/ 144382 w 288782"/>
                <a:gd name="connsiteY7" fmla="*/ 284158 h 321653"/>
                <a:gd name="connsiteX8" fmla="*/ 243887 w 288782"/>
                <a:gd name="connsiteY8" fmla="*/ 162876 h 321653"/>
                <a:gd name="connsiteX9" fmla="*/ 144382 w 288782"/>
                <a:gd name="connsiteY9" fmla="*/ 37486 h 32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8782" h="321653">
                  <a:moveTo>
                    <a:pt x="140218" y="321653"/>
                  </a:moveTo>
                  <a:cubicBezTo>
                    <a:pt x="49509" y="321653"/>
                    <a:pt x="0" y="261002"/>
                    <a:pt x="0" y="165192"/>
                  </a:cubicBezTo>
                  <a:cubicBezTo>
                    <a:pt x="0" y="58315"/>
                    <a:pt x="68041" y="0"/>
                    <a:pt x="148564" y="0"/>
                  </a:cubicBezTo>
                  <a:cubicBezTo>
                    <a:pt x="239282" y="0"/>
                    <a:pt x="288782" y="60632"/>
                    <a:pt x="288782" y="156414"/>
                  </a:cubicBezTo>
                  <a:cubicBezTo>
                    <a:pt x="288772" y="263319"/>
                    <a:pt x="220741" y="321653"/>
                    <a:pt x="140218" y="321653"/>
                  </a:cubicBezTo>
                  <a:close/>
                  <a:moveTo>
                    <a:pt x="144382" y="37486"/>
                  </a:moveTo>
                  <a:cubicBezTo>
                    <a:pt x="88392" y="37486"/>
                    <a:pt x="44885" y="80054"/>
                    <a:pt x="44885" y="158721"/>
                  </a:cubicBezTo>
                  <a:cubicBezTo>
                    <a:pt x="44885" y="233711"/>
                    <a:pt x="78217" y="284158"/>
                    <a:pt x="144382" y="284158"/>
                  </a:cubicBezTo>
                  <a:cubicBezTo>
                    <a:pt x="200380" y="284158"/>
                    <a:pt x="243887" y="241589"/>
                    <a:pt x="243887" y="162876"/>
                  </a:cubicBezTo>
                  <a:cubicBezTo>
                    <a:pt x="243878" y="87942"/>
                    <a:pt x="210565" y="37486"/>
                    <a:pt x="144382" y="37486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7B0D6F53-652C-4885-B18F-1AB4A17259F0}"/>
                </a:ext>
              </a:extLst>
            </p:cNvPr>
            <p:cNvSpPr/>
            <p:nvPr/>
          </p:nvSpPr>
          <p:spPr>
            <a:xfrm>
              <a:off x="5410537" y="4054327"/>
              <a:ext cx="241579" cy="317010"/>
            </a:xfrm>
            <a:custGeom>
              <a:avLst/>
              <a:gdLst>
                <a:gd name="connsiteX0" fmla="*/ 241570 w 241579"/>
                <a:gd name="connsiteY0" fmla="*/ 192962 h 317010"/>
                <a:gd name="connsiteX1" fmla="*/ 117090 w 241579"/>
                <a:gd name="connsiteY1" fmla="*/ 317011 h 317010"/>
                <a:gd name="connsiteX2" fmla="*/ 0 w 241579"/>
                <a:gd name="connsiteY2" fmla="*/ 207330 h 317010"/>
                <a:gd name="connsiteX3" fmla="*/ 0 w 241579"/>
                <a:gd name="connsiteY3" fmla="*/ 0 h 317010"/>
                <a:gd name="connsiteX4" fmla="*/ 42588 w 241579"/>
                <a:gd name="connsiteY4" fmla="*/ 0 h 317010"/>
                <a:gd name="connsiteX5" fmla="*/ 42588 w 241579"/>
                <a:gd name="connsiteY5" fmla="*/ 204113 h 317010"/>
                <a:gd name="connsiteX6" fmla="*/ 119875 w 241579"/>
                <a:gd name="connsiteY6" fmla="*/ 281851 h 317010"/>
                <a:gd name="connsiteX7" fmla="*/ 199939 w 241579"/>
                <a:gd name="connsiteY7" fmla="*/ 196235 h 317010"/>
                <a:gd name="connsiteX8" fmla="*/ 199939 w 241579"/>
                <a:gd name="connsiteY8" fmla="*/ 0 h 317010"/>
                <a:gd name="connsiteX9" fmla="*/ 241580 w 241579"/>
                <a:gd name="connsiteY9" fmla="*/ 0 h 317010"/>
                <a:gd name="connsiteX10" fmla="*/ 241570 w 241579"/>
                <a:gd name="connsiteY10" fmla="*/ 192962 h 317010"/>
                <a:gd name="connsiteX11" fmla="*/ 241570 w 241579"/>
                <a:gd name="connsiteY11" fmla="*/ 192962 h 317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1579" h="317010">
                  <a:moveTo>
                    <a:pt x="241570" y="192962"/>
                  </a:moveTo>
                  <a:cubicBezTo>
                    <a:pt x="241570" y="274855"/>
                    <a:pt x="198523" y="317011"/>
                    <a:pt x="117090" y="317011"/>
                  </a:cubicBezTo>
                  <a:cubicBezTo>
                    <a:pt x="19442" y="317011"/>
                    <a:pt x="0" y="262859"/>
                    <a:pt x="0" y="207330"/>
                  </a:cubicBezTo>
                  <a:lnTo>
                    <a:pt x="0" y="0"/>
                  </a:lnTo>
                  <a:lnTo>
                    <a:pt x="42588" y="0"/>
                  </a:lnTo>
                  <a:lnTo>
                    <a:pt x="42588" y="204113"/>
                  </a:lnTo>
                  <a:cubicBezTo>
                    <a:pt x="42588" y="247123"/>
                    <a:pt x="56918" y="281851"/>
                    <a:pt x="119875" y="281851"/>
                  </a:cubicBezTo>
                  <a:cubicBezTo>
                    <a:pt x="174467" y="281851"/>
                    <a:pt x="199939" y="259174"/>
                    <a:pt x="199939" y="196235"/>
                  </a:cubicBezTo>
                  <a:lnTo>
                    <a:pt x="199939" y="0"/>
                  </a:lnTo>
                  <a:lnTo>
                    <a:pt x="241580" y="0"/>
                  </a:lnTo>
                  <a:lnTo>
                    <a:pt x="241570" y="192962"/>
                  </a:lnTo>
                  <a:lnTo>
                    <a:pt x="241570" y="19296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E7900445-8D46-457B-9DE9-B0F701446E75}"/>
                </a:ext>
              </a:extLst>
            </p:cNvPr>
            <p:cNvSpPr/>
            <p:nvPr/>
          </p:nvSpPr>
          <p:spPr>
            <a:xfrm>
              <a:off x="5849665" y="4052423"/>
              <a:ext cx="200389" cy="314253"/>
            </a:xfrm>
            <a:custGeom>
              <a:avLst/>
              <a:gdLst>
                <a:gd name="connsiteX0" fmla="*/ 0 w 200389"/>
                <a:gd name="connsiteY0" fmla="*/ 314253 h 314253"/>
                <a:gd name="connsiteX1" fmla="*/ 0 w 200389"/>
                <a:gd name="connsiteY1" fmla="*/ 1866 h 314253"/>
                <a:gd name="connsiteX2" fmla="*/ 81912 w 200389"/>
                <a:gd name="connsiteY2" fmla="*/ 0 h 314253"/>
                <a:gd name="connsiteX3" fmla="*/ 200390 w 200389"/>
                <a:gd name="connsiteY3" fmla="*/ 97199 h 314253"/>
                <a:gd name="connsiteX4" fmla="*/ 75450 w 200389"/>
                <a:gd name="connsiteY4" fmla="*/ 207330 h 314253"/>
                <a:gd name="connsiteX5" fmla="*/ 42588 w 200389"/>
                <a:gd name="connsiteY5" fmla="*/ 205960 h 314253"/>
                <a:gd name="connsiteX6" fmla="*/ 42588 w 200389"/>
                <a:gd name="connsiteY6" fmla="*/ 314253 h 314253"/>
                <a:gd name="connsiteX7" fmla="*/ 0 w 200389"/>
                <a:gd name="connsiteY7" fmla="*/ 314253 h 314253"/>
                <a:gd name="connsiteX8" fmla="*/ 0 w 200389"/>
                <a:gd name="connsiteY8" fmla="*/ 314253 h 314253"/>
                <a:gd name="connsiteX9" fmla="*/ 42578 w 200389"/>
                <a:gd name="connsiteY9" fmla="*/ 169882 h 314253"/>
                <a:gd name="connsiteX10" fmla="*/ 78676 w 200389"/>
                <a:gd name="connsiteY10" fmla="*/ 172648 h 314253"/>
                <a:gd name="connsiteX11" fmla="*/ 156424 w 200389"/>
                <a:gd name="connsiteY11" fmla="*/ 103229 h 314253"/>
                <a:gd name="connsiteX12" fmla="*/ 76829 w 200389"/>
                <a:gd name="connsiteY12" fmla="*/ 34757 h 314253"/>
                <a:gd name="connsiteX13" fmla="*/ 42597 w 200389"/>
                <a:gd name="connsiteY13" fmla="*/ 35676 h 314253"/>
                <a:gd name="connsiteX14" fmla="*/ 42578 w 200389"/>
                <a:gd name="connsiteY14" fmla="*/ 169882 h 314253"/>
                <a:gd name="connsiteX15" fmla="*/ 42578 w 200389"/>
                <a:gd name="connsiteY15" fmla="*/ 169882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389" h="314253">
                  <a:moveTo>
                    <a:pt x="0" y="314253"/>
                  </a:moveTo>
                  <a:lnTo>
                    <a:pt x="0" y="1866"/>
                  </a:lnTo>
                  <a:cubicBezTo>
                    <a:pt x="0" y="1866"/>
                    <a:pt x="44416" y="0"/>
                    <a:pt x="81912" y="0"/>
                  </a:cubicBezTo>
                  <a:cubicBezTo>
                    <a:pt x="163363" y="0"/>
                    <a:pt x="200390" y="43535"/>
                    <a:pt x="200390" y="97199"/>
                  </a:cubicBezTo>
                  <a:cubicBezTo>
                    <a:pt x="200390" y="160118"/>
                    <a:pt x="153188" y="207330"/>
                    <a:pt x="75450" y="207330"/>
                  </a:cubicBezTo>
                  <a:cubicBezTo>
                    <a:pt x="59234" y="207330"/>
                    <a:pt x="42588" y="205960"/>
                    <a:pt x="42588" y="205960"/>
                  </a:cubicBezTo>
                  <a:lnTo>
                    <a:pt x="42588" y="314253"/>
                  </a:lnTo>
                  <a:lnTo>
                    <a:pt x="0" y="314253"/>
                  </a:lnTo>
                  <a:lnTo>
                    <a:pt x="0" y="314253"/>
                  </a:lnTo>
                  <a:close/>
                  <a:moveTo>
                    <a:pt x="42578" y="169882"/>
                  </a:moveTo>
                  <a:cubicBezTo>
                    <a:pt x="42578" y="169882"/>
                    <a:pt x="60631" y="172648"/>
                    <a:pt x="78676" y="172648"/>
                  </a:cubicBezTo>
                  <a:cubicBezTo>
                    <a:pt x="130501" y="172648"/>
                    <a:pt x="156424" y="142590"/>
                    <a:pt x="156424" y="103229"/>
                  </a:cubicBezTo>
                  <a:cubicBezTo>
                    <a:pt x="156424" y="62967"/>
                    <a:pt x="131898" y="34757"/>
                    <a:pt x="76829" y="34757"/>
                  </a:cubicBezTo>
                  <a:cubicBezTo>
                    <a:pt x="60631" y="34757"/>
                    <a:pt x="42597" y="35676"/>
                    <a:pt x="42597" y="35676"/>
                  </a:cubicBezTo>
                  <a:lnTo>
                    <a:pt x="42578" y="169882"/>
                  </a:lnTo>
                  <a:lnTo>
                    <a:pt x="42578" y="169882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ADC91D6-753E-4C50-A63E-DC11CD9FEAFD}"/>
                </a:ext>
              </a:extLst>
            </p:cNvPr>
            <p:cNvSpPr/>
            <p:nvPr/>
          </p:nvSpPr>
          <p:spPr>
            <a:xfrm>
              <a:off x="6397526" y="4050163"/>
              <a:ext cx="187419" cy="320668"/>
            </a:xfrm>
            <a:custGeom>
              <a:avLst/>
              <a:gdLst>
                <a:gd name="connsiteX0" fmla="*/ 163363 w 187419"/>
                <a:gd name="connsiteY0" fmla="*/ 43478 h 320668"/>
                <a:gd name="connsiteX1" fmla="*/ 106896 w 187419"/>
                <a:gd name="connsiteY1" fmla="*/ 35122 h 320668"/>
                <a:gd name="connsiteX2" fmla="*/ 43497 w 187419"/>
                <a:gd name="connsiteY2" fmla="*/ 81874 h 320668"/>
                <a:gd name="connsiteX3" fmla="*/ 187419 w 187419"/>
                <a:gd name="connsiteY3" fmla="*/ 229491 h 320668"/>
                <a:gd name="connsiteX4" fmla="*/ 74962 w 187419"/>
                <a:gd name="connsiteY4" fmla="*/ 320668 h 320668"/>
                <a:gd name="connsiteX5" fmla="*/ 4623 w 187419"/>
                <a:gd name="connsiteY5" fmla="*/ 312350 h 320668"/>
                <a:gd name="connsiteX6" fmla="*/ 4623 w 187419"/>
                <a:gd name="connsiteY6" fmla="*/ 270700 h 320668"/>
                <a:gd name="connsiteX7" fmla="*/ 77278 w 187419"/>
                <a:gd name="connsiteY7" fmla="*/ 284130 h 320668"/>
                <a:gd name="connsiteX8" fmla="*/ 143003 w 187419"/>
                <a:gd name="connsiteY8" fmla="*/ 232745 h 320668"/>
                <a:gd name="connsiteX9" fmla="*/ 0 w 187419"/>
                <a:gd name="connsiteY9" fmla="*/ 85138 h 320668"/>
                <a:gd name="connsiteX10" fmla="*/ 109671 w 187419"/>
                <a:gd name="connsiteY10" fmla="*/ 0 h 320668"/>
                <a:gd name="connsiteX11" fmla="*/ 163363 w 187419"/>
                <a:gd name="connsiteY11" fmla="*/ 5074 h 320668"/>
                <a:gd name="connsiteX12" fmla="*/ 163363 w 187419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9" h="320668">
                  <a:moveTo>
                    <a:pt x="163363" y="43478"/>
                  </a:moveTo>
                  <a:cubicBezTo>
                    <a:pt x="146698" y="38846"/>
                    <a:pt x="124940" y="35122"/>
                    <a:pt x="106896" y="35122"/>
                  </a:cubicBezTo>
                  <a:cubicBezTo>
                    <a:pt x="65255" y="35122"/>
                    <a:pt x="43497" y="52707"/>
                    <a:pt x="43497" y="81874"/>
                  </a:cubicBezTo>
                  <a:cubicBezTo>
                    <a:pt x="43497" y="150356"/>
                    <a:pt x="187419" y="126281"/>
                    <a:pt x="187419" y="229491"/>
                  </a:cubicBezTo>
                  <a:cubicBezTo>
                    <a:pt x="187419" y="281804"/>
                    <a:pt x="148095" y="320668"/>
                    <a:pt x="74962" y="320668"/>
                  </a:cubicBezTo>
                  <a:cubicBezTo>
                    <a:pt x="49519" y="320668"/>
                    <a:pt x="24056" y="317424"/>
                    <a:pt x="4623" y="312350"/>
                  </a:cubicBezTo>
                  <a:lnTo>
                    <a:pt x="4623" y="270700"/>
                  </a:lnTo>
                  <a:cubicBezTo>
                    <a:pt x="24515" y="278578"/>
                    <a:pt x="52304" y="284130"/>
                    <a:pt x="77278" y="284130"/>
                  </a:cubicBezTo>
                  <a:cubicBezTo>
                    <a:pt x="115233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71" y="0"/>
                    <a:pt x="109671" y="0"/>
                  </a:cubicBezTo>
                  <a:cubicBezTo>
                    <a:pt x="127725" y="0"/>
                    <a:pt x="146688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996E7C0A-129A-41C0-9149-DF5C843BD6C4}"/>
                </a:ext>
              </a:extLst>
            </p:cNvPr>
            <p:cNvSpPr/>
            <p:nvPr/>
          </p:nvSpPr>
          <p:spPr>
            <a:xfrm>
              <a:off x="6750607" y="4054289"/>
              <a:ext cx="178640" cy="312387"/>
            </a:xfrm>
            <a:custGeom>
              <a:avLst/>
              <a:gdLst>
                <a:gd name="connsiteX0" fmla="*/ 0 w 178640"/>
                <a:gd name="connsiteY0" fmla="*/ 312387 h 312387"/>
                <a:gd name="connsiteX1" fmla="*/ 0 w 178640"/>
                <a:gd name="connsiteY1" fmla="*/ 0 h 312387"/>
                <a:gd name="connsiteX2" fmla="*/ 176803 w 178640"/>
                <a:gd name="connsiteY2" fmla="*/ 0 h 312387"/>
                <a:gd name="connsiteX3" fmla="*/ 176803 w 178640"/>
                <a:gd name="connsiteY3" fmla="*/ 35179 h 312387"/>
                <a:gd name="connsiteX4" fmla="*/ 42578 w 178640"/>
                <a:gd name="connsiteY4" fmla="*/ 35179 h 312387"/>
                <a:gd name="connsiteX5" fmla="*/ 42578 w 178640"/>
                <a:gd name="connsiteY5" fmla="*/ 134196 h 312387"/>
                <a:gd name="connsiteX6" fmla="*/ 165670 w 178640"/>
                <a:gd name="connsiteY6" fmla="*/ 134196 h 312387"/>
                <a:gd name="connsiteX7" fmla="*/ 165670 w 178640"/>
                <a:gd name="connsiteY7" fmla="*/ 168447 h 312387"/>
                <a:gd name="connsiteX8" fmla="*/ 42578 w 178640"/>
                <a:gd name="connsiteY8" fmla="*/ 168447 h 312387"/>
                <a:gd name="connsiteX9" fmla="*/ 42578 w 178640"/>
                <a:gd name="connsiteY9" fmla="*/ 276740 h 312387"/>
                <a:gd name="connsiteX10" fmla="*/ 178641 w 178640"/>
                <a:gd name="connsiteY10" fmla="*/ 276740 h 312387"/>
                <a:gd name="connsiteX11" fmla="*/ 178641 w 178640"/>
                <a:gd name="connsiteY11" fmla="*/ 312387 h 312387"/>
                <a:gd name="connsiteX12" fmla="*/ 0 w 178640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40" h="312387">
                  <a:moveTo>
                    <a:pt x="0" y="312387"/>
                  </a:moveTo>
                  <a:lnTo>
                    <a:pt x="0" y="0"/>
                  </a:lnTo>
                  <a:lnTo>
                    <a:pt x="176803" y="0"/>
                  </a:lnTo>
                  <a:lnTo>
                    <a:pt x="176803" y="35179"/>
                  </a:lnTo>
                  <a:lnTo>
                    <a:pt x="42578" y="35179"/>
                  </a:lnTo>
                  <a:lnTo>
                    <a:pt x="42578" y="134196"/>
                  </a:lnTo>
                  <a:lnTo>
                    <a:pt x="165670" y="134196"/>
                  </a:lnTo>
                  <a:lnTo>
                    <a:pt x="165670" y="168447"/>
                  </a:lnTo>
                  <a:lnTo>
                    <a:pt x="42578" y="168447"/>
                  </a:lnTo>
                  <a:lnTo>
                    <a:pt x="42578" y="276740"/>
                  </a:lnTo>
                  <a:lnTo>
                    <a:pt x="178641" y="276740"/>
                  </a:lnTo>
                  <a:lnTo>
                    <a:pt x="178641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042C856D-9C65-463F-A4C0-4A3EB6FE39B0}"/>
                </a:ext>
              </a:extLst>
            </p:cNvPr>
            <p:cNvSpPr/>
            <p:nvPr/>
          </p:nvSpPr>
          <p:spPr>
            <a:xfrm>
              <a:off x="7112006" y="4052423"/>
              <a:ext cx="212441" cy="314253"/>
            </a:xfrm>
            <a:custGeom>
              <a:avLst/>
              <a:gdLst>
                <a:gd name="connsiteX0" fmla="*/ 159659 w 212441"/>
                <a:gd name="connsiteY0" fmla="*/ 314253 h 314253"/>
                <a:gd name="connsiteX1" fmla="*/ 65246 w 212441"/>
                <a:gd name="connsiteY1" fmla="*/ 179119 h 314253"/>
                <a:gd name="connsiteX2" fmla="*/ 42588 w 212441"/>
                <a:gd name="connsiteY2" fmla="*/ 179119 h 314253"/>
                <a:gd name="connsiteX3" fmla="*/ 42588 w 212441"/>
                <a:gd name="connsiteY3" fmla="*/ 314253 h 314253"/>
                <a:gd name="connsiteX4" fmla="*/ 0 w 212441"/>
                <a:gd name="connsiteY4" fmla="*/ 314253 h 314253"/>
                <a:gd name="connsiteX5" fmla="*/ 0 w 212441"/>
                <a:gd name="connsiteY5" fmla="*/ 2326 h 314253"/>
                <a:gd name="connsiteX6" fmla="*/ 81462 w 212441"/>
                <a:gd name="connsiteY6" fmla="*/ 0 h 314253"/>
                <a:gd name="connsiteX7" fmla="*/ 191143 w 212441"/>
                <a:gd name="connsiteY7" fmla="*/ 85175 h 314253"/>
                <a:gd name="connsiteX8" fmla="*/ 109231 w 212441"/>
                <a:gd name="connsiteY8" fmla="*/ 173558 h 314253"/>
                <a:gd name="connsiteX9" fmla="*/ 134693 w 212441"/>
                <a:gd name="connsiteY9" fmla="*/ 206898 h 314253"/>
                <a:gd name="connsiteX10" fmla="*/ 212441 w 212441"/>
                <a:gd name="connsiteY10" fmla="*/ 314253 h 314253"/>
                <a:gd name="connsiteX11" fmla="*/ 159659 w 212441"/>
                <a:gd name="connsiteY11" fmla="*/ 314253 h 314253"/>
                <a:gd name="connsiteX12" fmla="*/ 159659 w 212441"/>
                <a:gd name="connsiteY12" fmla="*/ 314253 h 314253"/>
                <a:gd name="connsiteX13" fmla="*/ 42588 w 212441"/>
                <a:gd name="connsiteY13" fmla="*/ 146745 h 314253"/>
                <a:gd name="connsiteX14" fmla="*/ 75900 w 212441"/>
                <a:gd name="connsiteY14" fmla="*/ 147186 h 314253"/>
                <a:gd name="connsiteX15" fmla="*/ 146726 w 212441"/>
                <a:gd name="connsiteY15" fmla="*/ 90277 h 314253"/>
                <a:gd name="connsiteX16" fmla="*/ 77757 w 212441"/>
                <a:gd name="connsiteY16" fmla="*/ 34747 h 314253"/>
                <a:gd name="connsiteX17" fmla="*/ 42588 w 212441"/>
                <a:gd name="connsiteY17" fmla="*/ 35676 h 314253"/>
                <a:gd name="connsiteX18" fmla="*/ 42588 w 212441"/>
                <a:gd name="connsiteY18" fmla="*/ 146745 h 31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441" h="314253">
                  <a:moveTo>
                    <a:pt x="159659" y="314253"/>
                  </a:moveTo>
                  <a:lnTo>
                    <a:pt x="65246" y="179119"/>
                  </a:lnTo>
                  <a:lnTo>
                    <a:pt x="42588" y="179119"/>
                  </a:lnTo>
                  <a:lnTo>
                    <a:pt x="42588" y="314253"/>
                  </a:lnTo>
                  <a:lnTo>
                    <a:pt x="0" y="314253"/>
                  </a:lnTo>
                  <a:lnTo>
                    <a:pt x="0" y="2326"/>
                  </a:lnTo>
                  <a:cubicBezTo>
                    <a:pt x="0" y="2326"/>
                    <a:pt x="41200" y="0"/>
                    <a:pt x="81462" y="0"/>
                  </a:cubicBezTo>
                  <a:cubicBezTo>
                    <a:pt x="146726" y="0"/>
                    <a:pt x="191143" y="25462"/>
                    <a:pt x="191143" y="85175"/>
                  </a:cubicBezTo>
                  <a:cubicBezTo>
                    <a:pt x="191143" y="139298"/>
                    <a:pt x="153647" y="167068"/>
                    <a:pt x="109231" y="173558"/>
                  </a:cubicBezTo>
                  <a:cubicBezTo>
                    <a:pt x="109231" y="173558"/>
                    <a:pt x="122661" y="189754"/>
                    <a:pt x="134693" y="206898"/>
                  </a:cubicBezTo>
                  <a:lnTo>
                    <a:pt x="212441" y="314253"/>
                  </a:lnTo>
                  <a:lnTo>
                    <a:pt x="159659" y="314253"/>
                  </a:lnTo>
                  <a:lnTo>
                    <a:pt x="159659" y="314253"/>
                  </a:lnTo>
                  <a:close/>
                  <a:moveTo>
                    <a:pt x="42588" y="146745"/>
                  </a:moveTo>
                  <a:cubicBezTo>
                    <a:pt x="42588" y="146745"/>
                    <a:pt x="60172" y="147186"/>
                    <a:pt x="75900" y="147186"/>
                  </a:cubicBezTo>
                  <a:cubicBezTo>
                    <a:pt x="121254" y="147186"/>
                    <a:pt x="146726" y="125915"/>
                    <a:pt x="146726" y="90277"/>
                  </a:cubicBezTo>
                  <a:cubicBezTo>
                    <a:pt x="146726" y="54648"/>
                    <a:pt x="122661" y="34747"/>
                    <a:pt x="77757" y="34747"/>
                  </a:cubicBezTo>
                  <a:cubicBezTo>
                    <a:pt x="60632" y="34747"/>
                    <a:pt x="42588" y="35676"/>
                    <a:pt x="42588" y="35676"/>
                  </a:cubicBezTo>
                  <a:lnTo>
                    <a:pt x="42588" y="14674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13F0EDA-0A5B-481E-A14C-C7C464FF65C0}"/>
                </a:ext>
              </a:extLst>
            </p:cNvPr>
            <p:cNvSpPr/>
            <p:nvPr/>
          </p:nvSpPr>
          <p:spPr>
            <a:xfrm>
              <a:off x="7441931" y="4054289"/>
              <a:ext cx="275361" cy="312387"/>
            </a:xfrm>
            <a:custGeom>
              <a:avLst/>
              <a:gdLst>
                <a:gd name="connsiteX0" fmla="*/ 163382 w 275361"/>
                <a:gd name="connsiteY0" fmla="*/ 312387 h 312387"/>
                <a:gd name="connsiteX1" fmla="*/ 111538 w 275361"/>
                <a:gd name="connsiteY1" fmla="*/ 312387 h 312387"/>
                <a:gd name="connsiteX2" fmla="*/ 0 w 275361"/>
                <a:gd name="connsiteY2" fmla="*/ 0 h 312387"/>
                <a:gd name="connsiteX3" fmla="*/ 47661 w 275361"/>
                <a:gd name="connsiteY3" fmla="*/ 0 h 312387"/>
                <a:gd name="connsiteX4" fmla="*/ 117522 w 275361"/>
                <a:gd name="connsiteY4" fmla="*/ 203175 h 312387"/>
                <a:gd name="connsiteX5" fmla="*/ 138351 w 275361"/>
                <a:gd name="connsiteY5" fmla="*/ 271206 h 312387"/>
                <a:gd name="connsiteX6" fmla="*/ 138867 w 275361"/>
                <a:gd name="connsiteY6" fmla="*/ 271206 h 312387"/>
                <a:gd name="connsiteX7" fmla="*/ 160568 w 275361"/>
                <a:gd name="connsiteY7" fmla="*/ 201309 h 312387"/>
                <a:gd name="connsiteX8" fmla="*/ 230917 w 275361"/>
                <a:gd name="connsiteY8" fmla="*/ 0 h 312387"/>
                <a:gd name="connsiteX9" fmla="*/ 275361 w 275361"/>
                <a:gd name="connsiteY9" fmla="*/ 0 h 312387"/>
                <a:gd name="connsiteX10" fmla="*/ 163382 w 275361"/>
                <a:gd name="connsiteY10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361" h="312387">
                  <a:moveTo>
                    <a:pt x="163382" y="312387"/>
                  </a:moveTo>
                  <a:lnTo>
                    <a:pt x="111538" y="312387"/>
                  </a:lnTo>
                  <a:lnTo>
                    <a:pt x="0" y="0"/>
                  </a:lnTo>
                  <a:lnTo>
                    <a:pt x="47661" y="0"/>
                  </a:lnTo>
                  <a:lnTo>
                    <a:pt x="117522" y="203175"/>
                  </a:lnTo>
                  <a:cubicBezTo>
                    <a:pt x="124499" y="222598"/>
                    <a:pt x="132349" y="248989"/>
                    <a:pt x="138351" y="271206"/>
                  </a:cubicBezTo>
                  <a:lnTo>
                    <a:pt x="138867" y="271206"/>
                  </a:lnTo>
                  <a:cubicBezTo>
                    <a:pt x="144869" y="249908"/>
                    <a:pt x="152710" y="224005"/>
                    <a:pt x="160568" y="201309"/>
                  </a:cubicBezTo>
                  <a:lnTo>
                    <a:pt x="230917" y="0"/>
                  </a:lnTo>
                  <a:lnTo>
                    <a:pt x="275361" y="0"/>
                  </a:lnTo>
                  <a:lnTo>
                    <a:pt x="163382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4247680D-5C43-49D3-8704-F2547BAC55C0}"/>
                </a:ext>
              </a:extLst>
            </p:cNvPr>
            <p:cNvSpPr/>
            <p:nvPr/>
          </p:nvSpPr>
          <p:spPr>
            <a:xfrm>
              <a:off x="7861617" y="4054289"/>
              <a:ext cx="42606" cy="312387"/>
            </a:xfrm>
            <a:custGeom>
              <a:avLst/>
              <a:gdLst>
                <a:gd name="connsiteX0" fmla="*/ 0 w 42606"/>
                <a:gd name="connsiteY0" fmla="*/ 312387 h 312387"/>
                <a:gd name="connsiteX1" fmla="*/ 0 w 42606"/>
                <a:gd name="connsiteY1" fmla="*/ 0 h 312387"/>
                <a:gd name="connsiteX2" fmla="*/ 42607 w 42606"/>
                <a:gd name="connsiteY2" fmla="*/ 0 h 312387"/>
                <a:gd name="connsiteX3" fmla="*/ 42607 w 42606"/>
                <a:gd name="connsiteY3" fmla="*/ 312387 h 312387"/>
                <a:gd name="connsiteX4" fmla="*/ 0 w 42606"/>
                <a:gd name="connsiteY4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06" h="312387">
                  <a:moveTo>
                    <a:pt x="0" y="312387"/>
                  </a:moveTo>
                  <a:lnTo>
                    <a:pt x="0" y="0"/>
                  </a:lnTo>
                  <a:lnTo>
                    <a:pt x="42607" y="0"/>
                  </a:lnTo>
                  <a:lnTo>
                    <a:pt x="42607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D2C90186-CCFA-4DBE-A0D5-8DB0D72A111F}"/>
                </a:ext>
              </a:extLst>
            </p:cNvPr>
            <p:cNvSpPr/>
            <p:nvPr/>
          </p:nvSpPr>
          <p:spPr>
            <a:xfrm>
              <a:off x="8068928" y="4051513"/>
              <a:ext cx="224464" cy="318886"/>
            </a:xfrm>
            <a:custGeom>
              <a:avLst/>
              <a:gdLst>
                <a:gd name="connsiteX0" fmla="*/ 224464 w 224464"/>
                <a:gd name="connsiteY0" fmla="*/ 306385 h 318886"/>
                <a:gd name="connsiteX1" fmla="*/ 139777 w 224464"/>
                <a:gd name="connsiteY1" fmla="*/ 318886 h 318886"/>
                <a:gd name="connsiteX2" fmla="*/ 0 w 224464"/>
                <a:gd name="connsiteY2" fmla="*/ 166158 h 318886"/>
                <a:gd name="connsiteX3" fmla="*/ 150412 w 224464"/>
                <a:gd name="connsiteY3" fmla="*/ 0 h 318886"/>
                <a:gd name="connsiteX4" fmla="*/ 220760 w 224464"/>
                <a:gd name="connsiteY4" fmla="*/ 10682 h 318886"/>
                <a:gd name="connsiteX5" fmla="*/ 220760 w 224464"/>
                <a:gd name="connsiteY5" fmla="*/ 52763 h 318886"/>
                <a:gd name="connsiteX6" fmla="*/ 144888 w 224464"/>
                <a:gd name="connsiteY6" fmla="*/ 36557 h 318886"/>
                <a:gd name="connsiteX7" fmla="*/ 45833 w 224464"/>
                <a:gd name="connsiteY7" fmla="*/ 161516 h 318886"/>
                <a:gd name="connsiteX8" fmla="*/ 147636 w 224464"/>
                <a:gd name="connsiteY8" fmla="*/ 280904 h 318886"/>
                <a:gd name="connsiteX9" fmla="*/ 224445 w 224464"/>
                <a:gd name="connsiteY9" fmla="*/ 268421 h 318886"/>
                <a:gd name="connsiteX10" fmla="*/ 224464 w 224464"/>
                <a:gd name="connsiteY10" fmla="*/ 306385 h 318886"/>
                <a:gd name="connsiteX11" fmla="*/ 224464 w 224464"/>
                <a:gd name="connsiteY11" fmla="*/ 306385 h 31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4464" h="318886">
                  <a:moveTo>
                    <a:pt x="224464" y="306385"/>
                  </a:moveTo>
                  <a:cubicBezTo>
                    <a:pt x="199002" y="313775"/>
                    <a:pt x="170341" y="318886"/>
                    <a:pt x="139777" y="318886"/>
                  </a:cubicBezTo>
                  <a:cubicBezTo>
                    <a:pt x="42128" y="318886"/>
                    <a:pt x="0" y="255938"/>
                    <a:pt x="0" y="166158"/>
                  </a:cubicBezTo>
                  <a:cubicBezTo>
                    <a:pt x="0" y="71276"/>
                    <a:pt x="47690" y="0"/>
                    <a:pt x="150412" y="0"/>
                  </a:cubicBezTo>
                  <a:cubicBezTo>
                    <a:pt x="174468" y="0"/>
                    <a:pt x="199480" y="3714"/>
                    <a:pt x="220760" y="10682"/>
                  </a:cubicBezTo>
                  <a:lnTo>
                    <a:pt x="220760" y="52763"/>
                  </a:lnTo>
                  <a:cubicBezTo>
                    <a:pt x="195785" y="42128"/>
                    <a:pt x="169872" y="36557"/>
                    <a:pt x="144888" y="36557"/>
                  </a:cubicBezTo>
                  <a:cubicBezTo>
                    <a:pt x="75468" y="36557"/>
                    <a:pt x="45833" y="92096"/>
                    <a:pt x="45833" y="161516"/>
                  </a:cubicBezTo>
                  <a:cubicBezTo>
                    <a:pt x="45833" y="237425"/>
                    <a:pt x="79623" y="280904"/>
                    <a:pt x="147636" y="280904"/>
                  </a:cubicBezTo>
                  <a:cubicBezTo>
                    <a:pt x="170782" y="280904"/>
                    <a:pt x="200399" y="275820"/>
                    <a:pt x="224445" y="268421"/>
                  </a:cubicBezTo>
                  <a:lnTo>
                    <a:pt x="224464" y="306385"/>
                  </a:lnTo>
                  <a:lnTo>
                    <a:pt x="224464" y="306385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690C5026-4354-463E-9678-AA6F6ED72ECB}"/>
                </a:ext>
              </a:extLst>
            </p:cNvPr>
            <p:cNvSpPr/>
            <p:nvPr/>
          </p:nvSpPr>
          <p:spPr>
            <a:xfrm>
              <a:off x="8460844" y="4054289"/>
              <a:ext cx="178659" cy="312387"/>
            </a:xfrm>
            <a:custGeom>
              <a:avLst/>
              <a:gdLst>
                <a:gd name="connsiteX0" fmla="*/ 0 w 178659"/>
                <a:gd name="connsiteY0" fmla="*/ 312387 h 312387"/>
                <a:gd name="connsiteX1" fmla="*/ 0 w 178659"/>
                <a:gd name="connsiteY1" fmla="*/ 0 h 312387"/>
                <a:gd name="connsiteX2" fmla="*/ 176822 w 178659"/>
                <a:gd name="connsiteY2" fmla="*/ 0 h 312387"/>
                <a:gd name="connsiteX3" fmla="*/ 176822 w 178659"/>
                <a:gd name="connsiteY3" fmla="*/ 35179 h 312387"/>
                <a:gd name="connsiteX4" fmla="*/ 42597 w 178659"/>
                <a:gd name="connsiteY4" fmla="*/ 35179 h 312387"/>
                <a:gd name="connsiteX5" fmla="*/ 42597 w 178659"/>
                <a:gd name="connsiteY5" fmla="*/ 134196 h 312387"/>
                <a:gd name="connsiteX6" fmla="*/ 165708 w 178659"/>
                <a:gd name="connsiteY6" fmla="*/ 134196 h 312387"/>
                <a:gd name="connsiteX7" fmla="*/ 165708 w 178659"/>
                <a:gd name="connsiteY7" fmla="*/ 168447 h 312387"/>
                <a:gd name="connsiteX8" fmla="*/ 42597 w 178659"/>
                <a:gd name="connsiteY8" fmla="*/ 168447 h 312387"/>
                <a:gd name="connsiteX9" fmla="*/ 42597 w 178659"/>
                <a:gd name="connsiteY9" fmla="*/ 276740 h 312387"/>
                <a:gd name="connsiteX10" fmla="*/ 178660 w 178659"/>
                <a:gd name="connsiteY10" fmla="*/ 276740 h 312387"/>
                <a:gd name="connsiteX11" fmla="*/ 178660 w 178659"/>
                <a:gd name="connsiteY11" fmla="*/ 312387 h 312387"/>
                <a:gd name="connsiteX12" fmla="*/ 0 w 178659"/>
                <a:gd name="connsiteY12" fmla="*/ 312387 h 31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659" h="312387">
                  <a:moveTo>
                    <a:pt x="0" y="312387"/>
                  </a:moveTo>
                  <a:lnTo>
                    <a:pt x="0" y="0"/>
                  </a:lnTo>
                  <a:lnTo>
                    <a:pt x="176822" y="0"/>
                  </a:lnTo>
                  <a:lnTo>
                    <a:pt x="176822" y="35179"/>
                  </a:lnTo>
                  <a:lnTo>
                    <a:pt x="42597" y="35179"/>
                  </a:lnTo>
                  <a:lnTo>
                    <a:pt x="42597" y="134196"/>
                  </a:lnTo>
                  <a:lnTo>
                    <a:pt x="165708" y="134196"/>
                  </a:lnTo>
                  <a:lnTo>
                    <a:pt x="165708" y="168447"/>
                  </a:lnTo>
                  <a:lnTo>
                    <a:pt x="42597" y="168447"/>
                  </a:lnTo>
                  <a:lnTo>
                    <a:pt x="42597" y="276740"/>
                  </a:lnTo>
                  <a:lnTo>
                    <a:pt x="178660" y="276740"/>
                  </a:lnTo>
                  <a:lnTo>
                    <a:pt x="178660" y="312387"/>
                  </a:lnTo>
                  <a:lnTo>
                    <a:pt x="0" y="312387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8336428F-68D1-4312-B122-4EF8090DF441}"/>
                </a:ext>
              </a:extLst>
            </p:cNvPr>
            <p:cNvSpPr/>
            <p:nvPr/>
          </p:nvSpPr>
          <p:spPr>
            <a:xfrm>
              <a:off x="8804208" y="4050163"/>
              <a:ext cx="187410" cy="320668"/>
            </a:xfrm>
            <a:custGeom>
              <a:avLst/>
              <a:gdLst>
                <a:gd name="connsiteX0" fmla="*/ 163363 w 187410"/>
                <a:gd name="connsiteY0" fmla="*/ 43478 h 320668"/>
                <a:gd name="connsiteX1" fmla="*/ 106906 w 187410"/>
                <a:gd name="connsiteY1" fmla="*/ 35122 h 320668"/>
                <a:gd name="connsiteX2" fmla="*/ 43507 w 187410"/>
                <a:gd name="connsiteY2" fmla="*/ 81874 h 320668"/>
                <a:gd name="connsiteX3" fmla="*/ 187410 w 187410"/>
                <a:gd name="connsiteY3" fmla="*/ 229491 h 320668"/>
                <a:gd name="connsiteX4" fmla="*/ 74972 w 187410"/>
                <a:gd name="connsiteY4" fmla="*/ 320668 h 320668"/>
                <a:gd name="connsiteX5" fmla="*/ 4624 w 187410"/>
                <a:gd name="connsiteY5" fmla="*/ 312350 h 320668"/>
                <a:gd name="connsiteX6" fmla="*/ 4624 w 187410"/>
                <a:gd name="connsiteY6" fmla="*/ 270700 h 320668"/>
                <a:gd name="connsiteX7" fmla="*/ 77288 w 187410"/>
                <a:gd name="connsiteY7" fmla="*/ 284130 h 320668"/>
                <a:gd name="connsiteX8" fmla="*/ 143003 w 187410"/>
                <a:gd name="connsiteY8" fmla="*/ 232745 h 320668"/>
                <a:gd name="connsiteX9" fmla="*/ 0 w 187410"/>
                <a:gd name="connsiteY9" fmla="*/ 85138 h 320668"/>
                <a:gd name="connsiteX10" fmla="*/ 109700 w 187410"/>
                <a:gd name="connsiteY10" fmla="*/ 0 h 320668"/>
                <a:gd name="connsiteX11" fmla="*/ 163363 w 187410"/>
                <a:gd name="connsiteY11" fmla="*/ 5074 h 320668"/>
                <a:gd name="connsiteX12" fmla="*/ 163363 w 187410"/>
                <a:gd name="connsiteY12" fmla="*/ 43478 h 32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410" h="320668">
                  <a:moveTo>
                    <a:pt x="163363" y="43478"/>
                  </a:moveTo>
                  <a:cubicBezTo>
                    <a:pt x="146735" y="38846"/>
                    <a:pt x="124940" y="35122"/>
                    <a:pt x="106906" y="35122"/>
                  </a:cubicBezTo>
                  <a:cubicBezTo>
                    <a:pt x="65265" y="35122"/>
                    <a:pt x="43507" y="52707"/>
                    <a:pt x="43507" y="81874"/>
                  </a:cubicBezTo>
                  <a:cubicBezTo>
                    <a:pt x="43507" y="150356"/>
                    <a:pt x="187410" y="126281"/>
                    <a:pt x="187410" y="229491"/>
                  </a:cubicBezTo>
                  <a:cubicBezTo>
                    <a:pt x="187410" y="281804"/>
                    <a:pt x="148123" y="320668"/>
                    <a:pt x="74972" y="320668"/>
                  </a:cubicBezTo>
                  <a:cubicBezTo>
                    <a:pt x="49509" y="320668"/>
                    <a:pt x="24047" y="317424"/>
                    <a:pt x="4624" y="312350"/>
                  </a:cubicBezTo>
                  <a:lnTo>
                    <a:pt x="4624" y="270700"/>
                  </a:lnTo>
                  <a:cubicBezTo>
                    <a:pt x="24525" y="278578"/>
                    <a:pt x="52304" y="284130"/>
                    <a:pt x="77288" y="284130"/>
                  </a:cubicBezTo>
                  <a:cubicBezTo>
                    <a:pt x="115224" y="284130"/>
                    <a:pt x="143003" y="269312"/>
                    <a:pt x="143003" y="232745"/>
                  </a:cubicBezTo>
                  <a:cubicBezTo>
                    <a:pt x="143003" y="160569"/>
                    <a:pt x="0" y="186031"/>
                    <a:pt x="0" y="85138"/>
                  </a:cubicBezTo>
                  <a:cubicBezTo>
                    <a:pt x="0" y="35132"/>
                    <a:pt x="40281" y="0"/>
                    <a:pt x="109700" y="0"/>
                  </a:cubicBezTo>
                  <a:cubicBezTo>
                    <a:pt x="127735" y="0"/>
                    <a:pt x="146717" y="1829"/>
                    <a:pt x="163363" y="5074"/>
                  </a:cubicBezTo>
                  <a:lnTo>
                    <a:pt x="163363" y="43478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3BF73826-5B97-4A60-87F1-70C77C2E2DC6}"/>
                </a:ext>
              </a:extLst>
            </p:cNvPr>
            <p:cNvSpPr/>
            <p:nvPr/>
          </p:nvSpPr>
          <p:spPr>
            <a:xfrm>
              <a:off x="10331125" y="2491153"/>
              <a:ext cx="760406" cy="937846"/>
            </a:xfrm>
            <a:custGeom>
              <a:avLst/>
              <a:gdLst>
                <a:gd name="connsiteX0" fmla="*/ 569555 w 760406"/>
                <a:gd name="connsiteY0" fmla="*/ 937846 h 937846"/>
                <a:gd name="connsiteX1" fmla="*/ 274320 w 760406"/>
                <a:gd name="connsiteY1" fmla="*/ 462658 h 937846"/>
                <a:gd name="connsiteX2" fmla="*/ 164311 w 760406"/>
                <a:gd name="connsiteY2" fmla="*/ 259821 h 937846"/>
                <a:gd name="connsiteX3" fmla="*/ 161498 w 760406"/>
                <a:gd name="connsiteY3" fmla="*/ 259821 h 937846"/>
                <a:gd name="connsiteX4" fmla="*/ 175472 w 760406"/>
                <a:gd name="connsiteY4" fmla="*/ 682171 h 937846"/>
                <a:gd name="connsiteX5" fmla="*/ 175472 w 760406"/>
                <a:gd name="connsiteY5" fmla="*/ 937846 h 937846"/>
                <a:gd name="connsiteX6" fmla="*/ 0 w 760406"/>
                <a:gd name="connsiteY6" fmla="*/ 937846 h 937846"/>
                <a:gd name="connsiteX7" fmla="*/ 0 w 760406"/>
                <a:gd name="connsiteY7" fmla="*/ 0 h 937846"/>
                <a:gd name="connsiteX8" fmla="*/ 206046 w 760406"/>
                <a:gd name="connsiteY8" fmla="*/ 0 h 937846"/>
                <a:gd name="connsiteX9" fmla="*/ 483272 w 760406"/>
                <a:gd name="connsiteY9" fmla="*/ 444595 h 937846"/>
                <a:gd name="connsiteX10" fmla="*/ 596002 w 760406"/>
                <a:gd name="connsiteY10" fmla="*/ 650228 h 937846"/>
                <a:gd name="connsiteX11" fmla="*/ 598816 w 760406"/>
                <a:gd name="connsiteY11" fmla="*/ 650228 h 937846"/>
                <a:gd name="connsiteX12" fmla="*/ 584935 w 760406"/>
                <a:gd name="connsiteY12" fmla="*/ 227859 h 937846"/>
                <a:gd name="connsiteX13" fmla="*/ 584935 w 760406"/>
                <a:gd name="connsiteY13" fmla="*/ 0 h 937846"/>
                <a:gd name="connsiteX14" fmla="*/ 760406 w 760406"/>
                <a:gd name="connsiteY14" fmla="*/ 0 h 937846"/>
                <a:gd name="connsiteX15" fmla="*/ 760406 w 760406"/>
                <a:gd name="connsiteY15" fmla="*/ 937846 h 937846"/>
                <a:gd name="connsiteX16" fmla="*/ 569555 w 760406"/>
                <a:gd name="connsiteY16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406" h="937846">
                  <a:moveTo>
                    <a:pt x="569555" y="937846"/>
                  </a:moveTo>
                  <a:lnTo>
                    <a:pt x="274320" y="462658"/>
                  </a:lnTo>
                  <a:cubicBezTo>
                    <a:pt x="221425" y="377915"/>
                    <a:pt x="192165" y="322338"/>
                    <a:pt x="164311" y="259821"/>
                  </a:cubicBezTo>
                  <a:lnTo>
                    <a:pt x="161498" y="259821"/>
                  </a:lnTo>
                  <a:cubicBezTo>
                    <a:pt x="168438" y="354300"/>
                    <a:pt x="175472" y="530737"/>
                    <a:pt x="175472" y="682171"/>
                  </a:cubicBezTo>
                  <a:lnTo>
                    <a:pt x="175472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206046" y="0"/>
                  </a:lnTo>
                  <a:lnTo>
                    <a:pt x="483272" y="444595"/>
                  </a:lnTo>
                  <a:cubicBezTo>
                    <a:pt x="532041" y="521020"/>
                    <a:pt x="569555" y="591884"/>
                    <a:pt x="596002" y="650228"/>
                  </a:cubicBezTo>
                  <a:lnTo>
                    <a:pt x="598816" y="650228"/>
                  </a:lnTo>
                  <a:cubicBezTo>
                    <a:pt x="591875" y="547440"/>
                    <a:pt x="584935" y="382088"/>
                    <a:pt x="584935" y="227859"/>
                  </a:cubicBezTo>
                  <a:lnTo>
                    <a:pt x="584935" y="0"/>
                  </a:lnTo>
                  <a:lnTo>
                    <a:pt x="760406" y="0"/>
                  </a:lnTo>
                  <a:lnTo>
                    <a:pt x="760406" y="937846"/>
                  </a:lnTo>
                  <a:lnTo>
                    <a:pt x="56955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9165B0A5-01CC-43B0-9B61-8A8283B54AEF}"/>
                </a:ext>
              </a:extLst>
            </p:cNvPr>
            <p:cNvSpPr/>
            <p:nvPr/>
          </p:nvSpPr>
          <p:spPr>
            <a:xfrm>
              <a:off x="9515105" y="2491153"/>
              <a:ext cx="570960" cy="937846"/>
            </a:xfrm>
            <a:custGeom>
              <a:avLst/>
              <a:gdLst>
                <a:gd name="connsiteX0" fmla="*/ 0 w 570960"/>
                <a:gd name="connsiteY0" fmla="*/ 937846 h 937846"/>
                <a:gd name="connsiteX1" fmla="*/ 0 w 570960"/>
                <a:gd name="connsiteY1" fmla="*/ 0 h 937846"/>
                <a:gd name="connsiteX2" fmla="*/ 566834 w 570960"/>
                <a:gd name="connsiteY2" fmla="*/ 0 h 937846"/>
                <a:gd name="connsiteX3" fmla="*/ 566834 w 570960"/>
                <a:gd name="connsiteY3" fmla="*/ 151434 h 937846"/>
                <a:gd name="connsiteX4" fmla="*/ 181004 w 570960"/>
                <a:gd name="connsiteY4" fmla="*/ 151434 h 937846"/>
                <a:gd name="connsiteX5" fmla="*/ 181004 w 570960"/>
                <a:gd name="connsiteY5" fmla="*/ 383467 h 937846"/>
                <a:gd name="connsiteX6" fmla="*/ 536073 w 570960"/>
                <a:gd name="connsiteY6" fmla="*/ 383467 h 937846"/>
                <a:gd name="connsiteX7" fmla="*/ 536073 w 570960"/>
                <a:gd name="connsiteY7" fmla="*/ 527961 h 937846"/>
                <a:gd name="connsiteX8" fmla="*/ 181004 w 570960"/>
                <a:gd name="connsiteY8" fmla="*/ 527961 h 937846"/>
                <a:gd name="connsiteX9" fmla="*/ 181004 w 570960"/>
                <a:gd name="connsiteY9" fmla="*/ 782229 h 937846"/>
                <a:gd name="connsiteX10" fmla="*/ 570960 w 570960"/>
                <a:gd name="connsiteY10" fmla="*/ 782229 h 937846"/>
                <a:gd name="connsiteX11" fmla="*/ 570960 w 570960"/>
                <a:gd name="connsiteY11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0960" h="937846">
                  <a:moveTo>
                    <a:pt x="0" y="937846"/>
                  </a:moveTo>
                  <a:lnTo>
                    <a:pt x="0" y="0"/>
                  </a:lnTo>
                  <a:lnTo>
                    <a:pt x="566834" y="0"/>
                  </a:lnTo>
                  <a:lnTo>
                    <a:pt x="566834" y="151434"/>
                  </a:lnTo>
                  <a:lnTo>
                    <a:pt x="181004" y="151434"/>
                  </a:lnTo>
                  <a:lnTo>
                    <a:pt x="181004" y="383467"/>
                  </a:lnTo>
                  <a:lnTo>
                    <a:pt x="536073" y="383467"/>
                  </a:lnTo>
                  <a:lnTo>
                    <a:pt x="536073" y="527961"/>
                  </a:lnTo>
                  <a:lnTo>
                    <a:pt x="181004" y="527961"/>
                  </a:lnTo>
                  <a:lnTo>
                    <a:pt x="181004" y="782229"/>
                  </a:lnTo>
                  <a:lnTo>
                    <a:pt x="570960" y="782229"/>
                  </a:lnTo>
                  <a:lnTo>
                    <a:pt x="570960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2EF1B87B-EE30-4557-9D76-21CCE078A28B}"/>
                </a:ext>
              </a:extLst>
            </p:cNvPr>
            <p:cNvSpPr/>
            <p:nvPr/>
          </p:nvSpPr>
          <p:spPr>
            <a:xfrm>
              <a:off x="8439996" y="2477254"/>
              <a:ext cx="796653" cy="965615"/>
            </a:xfrm>
            <a:custGeom>
              <a:avLst/>
              <a:gdLst>
                <a:gd name="connsiteX0" fmla="*/ 796654 w 796653"/>
                <a:gd name="connsiteY0" fmla="*/ 907263 h 965615"/>
                <a:gd name="connsiteX1" fmla="*/ 474935 w 796653"/>
                <a:gd name="connsiteY1" fmla="*/ 965616 h 965615"/>
                <a:gd name="connsiteX2" fmla="*/ 0 w 796653"/>
                <a:gd name="connsiteY2" fmla="*/ 502948 h 965615"/>
                <a:gd name="connsiteX3" fmla="*/ 522268 w 796653"/>
                <a:gd name="connsiteY3" fmla="*/ 0 h 965615"/>
                <a:gd name="connsiteX4" fmla="*/ 759027 w 796653"/>
                <a:gd name="connsiteY4" fmla="*/ 31952 h 965615"/>
                <a:gd name="connsiteX5" fmla="*/ 759027 w 796653"/>
                <a:gd name="connsiteY5" fmla="*/ 208408 h 965615"/>
                <a:gd name="connsiteX6" fmla="*/ 511107 w 796653"/>
                <a:gd name="connsiteY6" fmla="*/ 161169 h 965615"/>
                <a:gd name="connsiteX7" fmla="*/ 196347 w 796653"/>
                <a:gd name="connsiteY7" fmla="*/ 483507 h 965615"/>
                <a:gd name="connsiteX8" fmla="*/ 495773 w 796653"/>
                <a:gd name="connsiteY8" fmla="*/ 803040 h 965615"/>
                <a:gd name="connsiteX9" fmla="*/ 615546 w 796653"/>
                <a:gd name="connsiteY9" fmla="*/ 786403 h 965615"/>
                <a:gd name="connsiteX10" fmla="*/ 615546 w 796653"/>
                <a:gd name="connsiteY10" fmla="*/ 459882 h 965615"/>
                <a:gd name="connsiteX11" fmla="*/ 796635 w 796653"/>
                <a:gd name="connsiteY11" fmla="*/ 459882 h 965615"/>
                <a:gd name="connsiteX12" fmla="*/ 796654 w 796653"/>
                <a:gd name="connsiteY12" fmla="*/ 907263 h 965615"/>
                <a:gd name="connsiteX13" fmla="*/ 796654 w 796653"/>
                <a:gd name="connsiteY13" fmla="*/ 907263 h 96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6653" h="965615">
                  <a:moveTo>
                    <a:pt x="796654" y="907263"/>
                  </a:moveTo>
                  <a:cubicBezTo>
                    <a:pt x="703281" y="944758"/>
                    <a:pt x="587701" y="965616"/>
                    <a:pt x="474935" y="965616"/>
                  </a:cubicBezTo>
                  <a:cubicBezTo>
                    <a:pt x="165726" y="965616"/>
                    <a:pt x="0" y="782211"/>
                    <a:pt x="0" y="502948"/>
                  </a:cubicBezTo>
                  <a:cubicBezTo>
                    <a:pt x="0" y="205632"/>
                    <a:pt x="182420" y="0"/>
                    <a:pt x="522268" y="0"/>
                  </a:cubicBezTo>
                  <a:cubicBezTo>
                    <a:pt x="601638" y="0"/>
                    <a:pt x="689410" y="12501"/>
                    <a:pt x="759027" y="31952"/>
                  </a:cubicBezTo>
                  <a:lnTo>
                    <a:pt x="759027" y="208408"/>
                  </a:lnTo>
                  <a:cubicBezTo>
                    <a:pt x="682386" y="176456"/>
                    <a:pt x="591893" y="161169"/>
                    <a:pt x="511107" y="161169"/>
                  </a:cubicBezTo>
                  <a:cubicBezTo>
                    <a:pt x="288256" y="161169"/>
                    <a:pt x="196347" y="308439"/>
                    <a:pt x="196347" y="483507"/>
                  </a:cubicBezTo>
                  <a:cubicBezTo>
                    <a:pt x="196347" y="680792"/>
                    <a:pt x="300758" y="803040"/>
                    <a:pt x="495773" y="803040"/>
                  </a:cubicBezTo>
                  <a:cubicBezTo>
                    <a:pt x="540349" y="803040"/>
                    <a:pt x="579326" y="797516"/>
                    <a:pt x="615546" y="786403"/>
                  </a:cubicBezTo>
                  <a:lnTo>
                    <a:pt x="615546" y="459882"/>
                  </a:lnTo>
                  <a:lnTo>
                    <a:pt x="796635" y="459882"/>
                  </a:lnTo>
                  <a:lnTo>
                    <a:pt x="796654" y="907263"/>
                  </a:lnTo>
                  <a:lnTo>
                    <a:pt x="796654" y="907263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D6C9F49E-C3E6-4227-8F40-AF3FF8260999}"/>
                </a:ext>
              </a:extLst>
            </p:cNvPr>
            <p:cNvSpPr/>
            <p:nvPr/>
          </p:nvSpPr>
          <p:spPr>
            <a:xfrm>
              <a:off x="7472101" y="2491153"/>
              <a:ext cx="866251" cy="937846"/>
            </a:xfrm>
            <a:custGeom>
              <a:avLst/>
              <a:gdLst>
                <a:gd name="connsiteX0" fmla="*/ 665731 w 866251"/>
                <a:gd name="connsiteY0" fmla="*/ 937846 h 937846"/>
                <a:gd name="connsiteX1" fmla="*/ 601638 w 866251"/>
                <a:gd name="connsiteY1" fmla="*/ 737785 h 937846"/>
                <a:gd name="connsiteX2" fmla="*/ 247920 w 866251"/>
                <a:gd name="connsiteY2" fmla="*/ 737785 h 937846"/>
                <a:gd name="connsiteX3" fmla="*/ 182486 w 866251"/>
                <a:gd name="connsiteY3" fmla="*/ 937846 h 937846"/>
                <a:gd name="connsiteX4" fmla="*/ 0 w 866251"/>
                <a:gd name="connsiteY4" fmla="*/ 937846 h 937846"/>
                <a:gd name="connsiteX5" fmla="*/ 314788 w 866251"/>
                <a:gd name="connsiteY5" fmla="*/ 0 h 937846"/>
                <a:gd name="connsiteX6" fmla="*/ 550122 w 866251"/>
                <a:gd name="connsiteY6" fmla="*/ 0 h 937846"/>
                <a:gd name="connsiteX7" fmla="*/ 866251 w 866251"/>
                <a:gd name="connsiteY7" fmla="*/ 937846 h 937846"/>
                <a:gd name="connsiteX8" fmla="*/ 665731 w 866251"/>
                <a:gd name="connsiteY8" fmla="*/ 937846 h 937846"/>
                <a:gd name="connsiteX9" fmla="*/ 463793 w 866251"/>
                <a:gd name="connsiteY9" fmla="*/ 301499 h 937846"/>
                <a:gd name="connsiteX10" fmla="*/ 426176 w 866251"/>
                <a:gd name="connsiteY10" fmla="*/ 161169 h 937846"/>
                <a:gd name="connsiteX11" fmla="*/ 423382 w 866251"/>
                <a:gd name="connsiteY11" fmla="*/ 161169 h 937846"/>
                <a:gd name="connsiteX12" fmla="*/ 387162 w 866251"/>
                <a:gd name="connsiteY12" fmla="*/ 300101 h 937846"/>
                <a:gd name="connsiteX13" fmla="*/ 289729 w 866251"/>
                <a:gd name="connsiteY13" fmla="*/ 594670 h 937846"/>
                <a:gd name="connsiteX14" fmla="*/ 561282 w 866251"/>
                <a:gd name="connsiteY14" fmla="*/ 594670 h 937846"/>
                <a:gd name="connsiteX15" fmla="*/ 463793 w 866251"/>
                <a:gd name="connsiteY15" fmla="*/ 301499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6251" h="937846">
                  <a:moveTo>
                    <a:pt x="665731" y="937846"/>
                  </a:moveTo>
                  <a:lnTo>
                    <a:pt x="601638" y="737785"/>
                  </a:lnTo>
                  <a:lnTo>
                    <a:pt x="247920" y="737785"/>
                  </a:lnTo>
                  <a:lnTo>
                    <a:pt x="182486" y="937846"/>
                  </a:lnTo>
                  <a:lnTo>
                    <a:pt x="0" y="937846"/>
                  </a:lnTo>
                  <a:lnTo>
                    <a:pt x="314788" y="0"/>
                  </a:lnTo>
                  <a:lnTo>
                    <a:pt x="550122" y="0"/>
                  </a:lnTo>
                  <a:lnTo>
                    <a:pt x="866251" y="937846"/>
                  </a:lnTo>
                  <a:lnTo>
                    <a:pt x="665731" y="937846"/>
                  </a:lnTo>
                  <a:close/>
                  <a:moveTo>
                    <a:pt x="463793" y="301499"/>
                  </a:moveTo>
                  <a:cubicBezTo>
                    <a:pt x="448459" y="252862"/>
                    <a:pt x="435920" y="205632"/>
                    <a:pt x="426176" y="161169"/>
                  </a:cubicBezTo>
                  <a:lnTo>
                    <a:pt x="423382" y="161169"/>
                  </a:lnTo>
                  <a:cubicBezTo>
                    <a:pt x="413637" y="205632"/>
                    <a:pt x="401089" y="254260"/>
                    <a:pt x="387162" y="300101"/>
                  </a:cubicBezTo>
                  <a:lnTo>
                    <a:pt x="289729" y="594670"/>
                  </a:lnTo>
                  <a:lnTo>
                    <a:pt x="561282" y="594670"/>
                  </a:lnTo>
                  <a:lnTo>
                    <a:pt x="463793" y="301499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96816AAA-DD26-48B8-A735-4AE5ED45A8EC}"/>
                </a:ext>
              </a:extLst>
            </p:cNvPr>
            <p:cNvSpPr/>
            <p:nvPr/>
          </p:nvSpPr>
          <p:spPr>
            <a:xfrm>
              <a:off x="6164490" y="2491153"/>
              <a:ext cx="1265980" cy="937846"/>
            </a:xfrm>
            <a:custGeom>
              <a:avLst/>
              <a:gdLst>
                <a:gd name="connsiteX0" fmla="*/ 1031997 w 1265980"/>
                <a:gd name="connsiteY0" fmla="*/ 937846 h 937846"/>
                <a:gd name="connsiteX1" fmla="*/ 807777 w 1265980"/>
                <a:gd name="connsiteY1" fmla="*/ 937846 h 937846"/>
                <a:gd name="connsiteX2" fmla="*/ 664333 w 1265980"/>
                <a:gd name="connsiteY2" fmla="*/ 425154 h 937846"/>
                <a:gd name="connsiteX3" fmla="*/ 633684 w 1265980"/>
                <a:gd name="connsiteY3" fmla="*/ 254269 h 937846"/>
                <a:gd name="connsiteX4" fmla="*/ 630898 w 1265980"/>
                <a:gd name="connsiteY4" fmla="*/ 254269 h 937846"/>
                <a:gd name="connsiteX5" fmla="*/ 601647 w 1265980"/>
                <a:gd name="connsiteY5" fmla="*/ 425154 h 937846"/>
                <a:gd name="connsiteX6" fmla="*/ 460999 w 1265980"/>
                <a:gd name="connsiteY6" fmla="*/ 937846 h 937846"/>
                <a:gd name="connsiteX7" fmla="*/ 235381 w 1265980"/>
                <a:gd name="connsiteY7" fmla="*/ 937846 h 937846"/>
                <a:gd name="connsiteX8" fmla="*/ 0 w 1265980"/>
                <a:gd name="connsiteY8" fmla="*/ 0 h 937846"/>
                <a:gd name="connsiteX9" fmla="*/ 193600 w 1265980"/>
                <a:gd name="connsiteY9" fmla="*/ 0 h 937846"/>
                <a:gd name="connsiteX10" fmla="*/ 318934 w 1265980"/>
                <a:gd name="connsiteY10" fmla="*/ 512683 h 937846"/>
                <a:gd name="connsiteX11" fmla="*/ 359327 w 1265980"/>
                <a:gd name="connsiteY11" fmla="*/ 746104 h 937846"/>
                <a:gd name="connsiteX12" fmla="*/ 362112 w 1265980"/>
                <a:gd name="connsiteY12" fmla="*/ 746104 h 937846"/>
                <a:gd name="connsiteX13" fmla="*/ 406679 w 1265980"/>
                <a:gd name="connsiteY13" fmla="*/ 515459 h 937846"/>
                <a:gd name="connsiteX14" fmla="*/ 548725 w 1265980"/>
                <a:gd name="connsiteY14" fmla="*/ 0 h 937846"/>
                <a:gd name="connsiteX15" fmla="*/ 729785 w 1265980"/>
                <a:gd name="connsiteY15" fmla="*/ 0 h 937846"/>
                <a:gd name="connsiteX16" fmla="*/ 876014 w 1265980"/>
                <a:gd name="connsiteY16" fmla="*/ 521030 h 937846"/>
                <a:gd name="connsiteX17" fmla="*/ 924754 w 1265980"/>
                <a:gd name="connsiteY17" fmla="*/ 746104 h 937846"/>
                <a:gd name="connsiteX18" fmla="*/ 927549 w 1265980"/>
                <a:gd name="connsiteY18" fmla="*/ 746104 h 937846"/>
                <a:gd name="connsiteX19" fmla="*/ 963769 w 1265980"/>
                <a:gd name="connsiteY19" fmla="*/ 523806 h 937846"/>
                <a:gd name="connsiteX20" fmla="*/ 1087724 w 1265980"/>
                <a:gd name="connsiteY20" fmla="*/ 0 h 937846"/>
                <a:gd name="connsiteX21" fmla="*/ 1265980 w 1265980"/>
                <a:gd name="connsiteY21" fmla="*/ 0 h 937846"/>
                <a:gd name="connsiteX22" fmla="*/ 1031997 w 1265980"/>
                <a:gd name="connsiteY22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5980" h="937846">
                  <a:moveTo>
                    <a:pt x="1031997" y="937846"/>
                  </a:moveTo>
                  <a:lnTo>
                    <a:pt x="807777" y="937846"/>
                  </a:lnTo>
                  <a:lnTo>
                    <a:pt x="664333" y="425154"/>
                  </a:lnTo>
                  <a:cubicBezTo>
                    <a:pt x="651794" y="375139"/>
                    <a:pt x="640662" y="311215"/>
                    <a:pt x="633684" y="254269"/>
                  </a:cubicBezTo>
                  <a:lnTo>
                    <a:pt x="630898" y="254269"/>
                  </a:lnTo>
                  <a:cubicBezTo>
                    <a:pt x="622524" y="314000"/>
                    <a:pt x="614186" y="375139"/>
                    <a:pt x="601647" y="425154"/>
                  </a:cubicBezTo>
                  <a:lnTo>
                    <a:pt x="460999" y="937846"/>
                  </a:lnTo>
                  <a:lnTo>
                    <a:pt x="235381" y="937846"/>
                  </a:lnTo>
                  <a:lnTo>
                    <a:pt x="0" y="0"/>
                  </a:lnTo>
                  <a:lnTo>
                    <a:pt x="193600" y="0"/>
                  </a:lnTo>
                  <a:lnTo>
                    <a:pt x="318934" y="512683"/>
                  </a:lnTo>
                  <a:cubicBezTo>
                    <a:pt x="337034" y="600203"/>
                    <a:pt x="349573" y="675249"/>
                    <a:pt x="359327" y="746104"/>
                  </a:cubicBezTo>
                  <a:lnTo>
                    <a:pt x="362112" y="746104"/>
                  </a:lnTo>
                  <a:cubicBezTo>
                    <a:pt x="371875" y="675249"/>
                    <a:pt x="385793" y="597436"/>
                    <a:pt x="406679" y="515459"/>
                  </a:cubicBezTo>
                  <a:lnTo>
                    <a:pt x="548725" y="0"/>
                  </a:lnTo>
                  <a:lnTo>
                    <a:pt x="729785" y="0"/>
                  </a:lnTo>
                  <a:lnTo>
                    <a:pt x="876014" y="521030"/>
                  </a:lnTo>
                  <a:cubicBezTo>
                    <a:pt x="895521" y="590487"/>
                    <a:pt x="913622" y="671057"/>
                    <a:pt x="924754" y="746104"/>
                  </a:cubicBezTo>
                  <a:lnTo>
                    <a:pt x="927549" y="746104"/>
                  </a:lnTo>
                  <a:cubicBezTo>
                    <a:pt x="937293" y="673852"/>
                    <a:pt x="948426" y="597436"/>
                    <a:pt x="963769" y="523806"/>
                  </a:cubicBezTo>
                  <a:lnTo>
                    <a:pt x="1087724" y="0"/>
                  </a:lnTo>
                  <a:lnTo>
                    <a:pt x="1265980" y="0"/>
                  </a:lnTo>
                  <a:lnTo>
                    <a:pt x="1031997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A67A0922-D86D-4615-9E61-3309EEB21BCE}"/>
                </a:ext>
              </a:extLst>
            </p:cNvPr>
            <p:cNvSpPr/>
            <p:nvPr/>
          </p:nvSpPr>
          <p:spPr>
            <a:xfrm>
              <a:off x="5458470" y="2475875"/>
              <a:ext cx="596066" cy="968391"/>
            </a:xfrm>
            <a:custGeom>
              <a:avLst/>
              <a:gdLst>
                <a:gd name="connsiteX0" fmla="*/ 518076 w 596066"/>
                <a:gd name="connsiteY0" fmla="*/ 176446 h 968391"/>
                <a:gd name="connsiteX1" fmla="*/ 343993 w 596066"/>
                <a:gd name="connsiteY1" fmla="*/ 150046 h 968391"/>
                <a:gd name="connsiteX2" fmla="*/ 187992 w 596066"/>
                <a:gd name="connsiteY2" fmla="*/ 258414 h 968391"/>
                <a:gd name="connsiteX3" fmla="*/ 596067 w 596066"/>
                <a:gd name="connsiteY3" fmla="*/ 678016 h 968391"/>
                <a:gd name="connsiteX4" fmla="*/ 238147 w 596066"/>
                <a:gd name="connsiteY4" fmla="*/ 968392 h 968391"/>
                <a:gd name="connsiteX5" fmla="*/ 19488 w 596066"/>
                <a:gd name="connsiteY5" fmla="*/ 942010 h 968391"/>
                <a:gd name="connsiteX6" fmla="*/ 19488 w 596066"/>
                <a:gd name="connsiteY6" fmla="*/ 769690 h 968391"/>
                <a:gd name="connsiteX7" fmla="*/ 245116 w 596066"/>
                <a:gd name="connsiteY7" fmla="*/ 811406 h 968391"/>
                <a:gd name="connsiteX8" fmla="*/ 402496 w 596066"/>
                <a:gd name="connsiteY8" fmla="*/ 694681 h 968391"/>
                <a:gd name="connsiteX9" fmla="*/ 0 w 596066"/>
                <a:gd name="connsiteY9" fmla="*/ 275098 h 968391"/>
                <a:gd name="connsiteX10" fmla="*/ 355134 w 596066"/>
                <a:gd name="connsiteY10" fmla="*/ 0 h 968391"/>
                <a:gd name="connsiteX11" fmla="*/ 518067 w 596066"/>
                <a:gd name="connsiteY11" fmla="*/ 16666 h 968391"/>
                <a:gd name="connsiteX12" fmla="*/ 518076 w 596066"/>
                <a:gd name="connsiteY12" fmla="*/ 176446 h 968391"/>
                <a:gd name="connsiteX13" fmla="*/ 518076 w 596066"/>
                <a:gd name="connsiteY13" fmla="*/ 176446 h 9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96066" h="968391">
                  <a:moveTo>
                    <a:pt x="518076" y="176446"/>
                  </a:moveTo>
                  <a:cubicBezTo>
                    <a:pt x="466550" y="161159"/>
                    <a:pt x="399692" y="150046"/>
                    <a:pt x="343993" y="150046"/>
                  </a:cubicBezTo>
                  <a:cubicBezTo>
                    <a:pt x="240933" y="150046"/>
                    <a:pt x="187992" y="191724"/>
                    <a:pt x="187992" y="258414"/>
                  </a:cubicBezTo>
                  <a:cubicBezTo>
                    <a:pt x="187992" y="429318"/>
                    <a:pt x="596067" y="369577"/>
                    <a:pt x="596067" y="678016"/>
                  </a:cubicBezTo>
                  <a:cubicBezTo>
                    <a:pt x="596067" y="846144"/>
                    <a:pt x="467939" y="968392"/>
                    <a:pt x="238147" y="968392"/>
                  </a:cubicBezTo>
                  <a:cubicBezTo>
                    <a:pt x="160147" y="968392"/>
                    <a:pt x="80767" y="958648"/>
                    <a:pt x="19488" y="942010"/>
                  </a:cubicBezTo>
                  <a:lnTo>
                    <a:pt x="19488" y="769690"/>
                  </a:lnTo>
                  <a:cubicBezTo>
                    <a:pt x="80777" y="793315"/>
                    <a:pt x="169919" y="811406"/>
                    <a:pt x="245116" y="811406"/>
                  </a:cubicBezTo>
                  <a:cubicBezTo>
                    <a:pt x="337044" y="811406"/>
                    <a:pt x="402496" y="776677"/>
                    <a:pt x="402496" y="694681"/>
                  </a:cubicBezTo>
                  <a:cubicBezTo>
                    <a:pt x="402496" y="514062"/>
                    <a:pt x="0" y="580743"/>
                    <a:pt x="0" y="275098"/>
                  </a:cubicBezTo>
                  <a:cubicBezTo>
                    <a:pt x="0" y="112542"/>
                    <a:pt x="130924" y="0"/>
                    <a:pt x="355134" y="0"/>
                  </a:cubicBezTo>
                  <a:cubicBezTo>
                    <a:pt x="406651" y="0"/>
                    <a:pt x="467939" y="6940"/>
                    <a:pt x="518067" y="16666"/>
                  </a:cubicBezTo>
                  <a:lnTo>
                    <a:pt x="518076" y="176446"/>
                  </a:lnTo>
                  <a:lnTo>
                    <a:pt x="518076" y="1764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92FE960E-AD4C-4945-AC36-1E8A217B5D42}"/>
                </a:ext>
              </a:extLst>
            </p:cNvPr>
            <p:cNvSpPr/>
            <p:nvPr/>
          </p:nvSpPr>
          <p:spPr>
            <a:xfrm>
              <a:off x="4620139" y="2491153"/>
              <a:ext cx="735355" cy="937846"/>
            </a:xfrm>
            <a:custGeom>
              <a:avLst/>
              <a:gdLst>
                <a:gd name="connsiteX0" fmla="*/ 509748 w 735355"/>
                <a:gd name="connsiteY0" fmla="*/ 937846 h 937846"/>
                <a:gd name="connsiteX1" fmla="*/ 181051 w 735355"/>
                <a:gd name="connsiteY1" fmla="*/ 487671 h 937846"/>
                <a:gd name="connsiteX2" fmla="*/ 181051 w 735355"/>
                <a:gd name="connsiteY2" fmla="*/ 937846 h 937846"/>
                <a:gd name="connsiteX3" fmla="*/ 0 w 735355"/>
                <a:gd name="connsiteY3" fmla="*/ 937846 h 937846"/>
                <a:gd name="connsiteX4" fmla="*/ 0 w 735355"/>
                <a:gd name="connsiteY4" fmla="*/ 0 h 937846"/>
                <a:gd name="connsiteX5" fmla="*/ 181051 w 735355"/>
                <a:gd name="connsiteY5" fmla="*/ 0 h 937846"/>
                <a:gd name="connsiteX6" fmla="*/ 181051 w 735355"/>
                <a:gd name="connsiteY6" fmla="*/ 425154 h 937846"/>
                <a:gd name="connsiteX7" fmla="*/ 498587 w 735355"/>
                <a:gd name="connsiteY7" fmla="*/ 0 h 937846"/>
                <a:gd name="connsiteX8" fmla="*/ 713063 w 735355"/>
                <a:gd name="connsiteY8" fmla="*/ 0 h 937846"/>
                <a:gd name="connsiteX9" fmla="*/ 366285 w 735355"/>
                <a:gd name="connsiteY9" fmla="*/ 447371 h 937846"/>
                <a:gd name="connsiteX10" fmla="*/ 735356 w 735355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5355" h="937846">
                  <a:moveTo>
                    <a:pt x="509748" y="937846"/>
                  </a:moveTo>
                  <a:lnTo>
                    <a:pt x="181051" y="487671"/>
                  </a:lnTo>
                  <a:lnTo>
                    <a:pt x="181051" y="937846"/>
                  </a:lnTo>
                  <a:lnTo>
                    <a:pt x="0" y="937846"/>
                  </a:lnTo>
                  <a:lnTo>
                    <a:pt x="0" y="0"/>
                  </a:lnTo>
                  <a:lnTo>
                    <a:pt x="181051" y="0"/>
                  </a:lnTo>
                  <a:lnTo>
                    <a:pt x="181051" y="425154"/>
                  </a:lnTo>
                  <a:lnTo>
                    <a:pt x="498587" y="0"/>
                  </a:lnTo>
                  <a:lnTo>
                    <a:pt x="713063" y="0"/>
                  </a:lnTo>
                  <a:lnTo>
                    <a:pt x="366285" y="447371"/>
                  </a:lnTo>
                  <a:lnTo>
                    <a:pt x="735356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FD6CF50A-BD94-4831-A9F2-390207EA15EA}"/>
                </a:ext>
              </a:extLst>
            </p:cNvPr>
            <p:cNvSpPr/>
            <p:nvPr/>
          </p:nvSpPr>
          <p:spPr>
            <a:xfrm>
              <a:off x="3922447" y="2491153"/>
              <a:ext cx="523665" cy="937846"/>
            </a:xfrm>
            <a:custGeom>
              <a:avLst/>
              <a:gdLst>
                <a:gd name="connsiteX0" fmla="*/ 0 w 523665"/>
                <a:gd name="connsiteY0" fmla="*/ 937846 h 937846"/>
                <a:gd name="connsiteX1" fmla="*/ 0 w 523665"/>
                <a:gd name="connsiteY1" fmla="*/ 0 h 937846"/>
                <a:gd name="connsiteX2" fmla="*/ 181061 w 523665"/>
                <a:gd name="connsiteY2" fmla="*/ 0 h 937846"/>
                <a:gd name="connsiteX3" fmla="*/ 181061 w 523665"/>
                <a:gd name="connsiteY3" fmla="*/ 780832 h 937846"/>
                <a:gd name="connsiteX4" fmla="*/ 523665 w 523665"/>
                <a:gd name="connsiteY4" fmla="*/ 780832 h 937846"/>
                <a:gd name="connsiteX5" fmla="*/ 523665 w 523665"/>
                <a:gd name="connsiteY5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65" h="937846">
                  <a:moveTo>
                    <a:pt x="0" y="937846"/>
                  </a:moveTo>
                  <a:lnTo>
                    <a:pt x="0" y="0"/>
                  </a:lnTo>
                  <a:lnTo>
                    <a:pt x="181061" y="0"/>
                  </a:lnTo>
                  <a:lnTo>
                    <a:pt x="181061" y="780832"/>
                  </a:lnTo>
                  <a:lnTo>
                    <a:pt x="523665" y="780832"/>
                  </a:lnTo>
                  <a:lnTo>
                    <a:pt x="523665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51F87976-CFBA-48E9-89C8-E835B18ED392}"/>
                </a:ext>
              </a:extLst>
            </p:cNvPr>
            <p:cNvSpPr/>
            <p:nvPr/>
          </p:nvSpPr>
          <p:spPr>
            <a:xfrm>
              <a:off x="2825102" y="2475885"/>
              <a:ext cx="892735" cy="968382"/>
            </a:xfrm>
            <a:custGeom>
              <a:avLst/>
              <a:gdLst>
                <a:gd name="connsiteX0" fmla="*/ 431738 w 892735"/>
                <a:gd name="connsiteY0" fmla="*/ 968383 h 968382"/>
                <a:gd name="connsiteX1" fmla="*/ 0 w 892735"/>
                <a:gd name="connsiteY1" fmla="*/ 501551 h 968382"/>
                <a:gd name="connsiteX2" fmla="*/ 460989 w 892735"/>
                <a:gd name="connsiteY2" fmla="*/ 0 h 968382"/>
                <a:gd name="connsiteX3" fmla="*/ 892736 w 892735"/>
                <a:gd name="connsiteY3" fmla="*/ 466822 h 968382"/>
                <a:gd name="connsiteX4" fmla="*/ 431738 w 892735"/>
                <a:gd name="connsiteY4" fmla="*/ 968383 h 968382"/>
                <a:gd name="connsiteX5" fmla="*/ 445646 w 892735"/>
                <a:gd name="connsiteY5" fmla="*/ 162548 h 968382"/>
                <a:gd name="connsiteX6" fmla="*/ 193571 w 892735"/>
                <a:gd name="connsiteY6" fmla="*/ 479324 h 968382"/>
                <a:gd name="connsiteX7" fmla="*/ 445646 w 892735"/>
                <a:gd name="connsiteY7" fmla="*/ 805807 h 968382"/>
                <a:gd name="connsiteX8" fmla="*/ 699118 w 892735"/>
                <a:gd name="connsiteY8" fmla="*/ 487652 h 968382"/>
                <a:gd name="connsiteX9" fmla="*/ 445646 w 892735"/>
                <a:gd name="connsiteY9" fmla="*/ 162548 h 96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2735" h="968382">
                  <a:moveTo>
                    <a:pt x="431738" y="968383"/>
                  </a:moveTo>
                  <a:cubicBezTo>
                    <a:pt x="149014" y="968383"/>
                    <a:pt x="0" y="796100"/>
                    <a:pt x="0" y="501551"/>
                  </a:cubicBezTo>
                  <a:cubicBezTo>
                    <a:pt x="0" y="176437"/>
                    <a:pt x="211691" y="0"/>
                    <a:pt x="460989" y="0"/>
                  </a:cubicBezTo>
                  <a:cubicBezTo>
                    <a:pt x="743712" y="0"/>
                    <a:pt x="892736" y="172273"/>
                    <a:pt x="892736" y="466822"/>
                  </a:cubicBezTo>
                  <a:cubicBezTo>
                    <a:pt x="892726" y="791908"/>
                    <a:pt x="681036" y="968383"/>
                    <a:pt x="431738" y="968383"/>
                  </a:cubicBezTo>
                  <a:close/>
                  <a:moveTo>
                    <a:pt x="445646" y="162548"/>
                  </a:moveTo>
                  <a:cubicBezTo>
                    <a:pt x="298029" y="162548"/>
                    <a:pt x="193571" y="273692"/>
                    <a:pt x="193571" y="479324"/>
                  </a:cubicBezTo>
                  <a:cubicBezTo>
                    <a:pt x="193571" y="680792"/>
                    <a:pt x="277143" y="805807"/>
                    <a:pt x="445646" y="805807"/>
                  </a:cubicBezTo>
                  <a:cubicBezTo>
                    <a:pt x="593272" y="805807"/>
                    <a:pt x="699118" y="694663"/>
                    <a:pt x="699118" y="487652"/>
                  </a:cubicBezTo>
                  <a:cubicBezTo>
                    <a:pt x="699127" y="287591"/>
                    <a:pt x="615574" y="162548"/>
                    <a:pt x="445646" y="162548"/>
                  </a:cubicBez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385F6FDF-57E1-4752-9813-05EB5B4679A3}"/>
                </a:ext>
              </a:extLst>
            </p:cNvPr>
            <p:cNvSpPr/>
            <p:nvPr/>
          </p:nvSpPr>
          <p:spPr>
            <a:xfrm>
              <a:off x="1876761" y="2491153"/>
              <a:ext cx="866260" cy="937846"/>
            </a:xfrm>
            <a:custGeom>
              <a:avLst/>
              <a:gdLst>
                <a:gd name="connsiteX0" fmla="*/ 551501 w 866260"/>
                <a:gd name="connsiteY0" fmla="*/ 937846 h 937846"/>
                <a:gd name="connsiteX1" fmla="*/ 316139 w 866260"/>
                <a:gd name="connsiteY1" fmla="*/ 937846 h 937846"/>
                <a:gd name="connsiteX2" fmla="*/ 0 w 866260"/>
                <a:gd name="connsiteY2" fmla="*/ 0 h 937846"/>
                <a:gd name="connsiteX3" fmla="*/ 200540 w 866260"/>
                <a:gd name="connsiteY3" fmla="*/ 0 h 937846"/>
                <a:gd name="connsiteX4" fmla="*/ 381610 w 866260"/>
                <a:gd name="connsiteY4" fmla="*/ 561310 h 937846"/>
                <a:gd name="connsiteX5" fmla="*/ 437299 w 866260"/>
                <a:gd name="connsiteY5" fmla="*/ 769719 h 937846"/>
                <a:gd name="connsiteX6" fmla="*/ 440075 w 866260"/>
                <a:gd name="connsiteY6" fmla="*/ 769719 h 937846"/>
                <a:gd name="connsiteX7" fmla="*/ 497180 w 866260"/>
                <a:gd name="connsiteY7" fmla="*/ 558544 h 937846"/>
                <a:gd name="connsiteX8" fmla="*/ 679629 w 866260"/>
                <a:gd name="connsiteY8" fmla="*/ 0 h 937846"/>
                <a:gd name="connsiteX9" fmla="*/ 866260 w 866260"/>
                <a:gd name="connsiteY9" fmla="*/ 0 h 937846"/>
                <a:gd name="connsiteX10" fmla="*/ 551501 w 866260"/>
                <a:gd name="connsiteY10" fmla="*/ 937846 h 93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260" h="937846">
                  <a:moveTo>
                    <a:pt x="551501" y="937846"/>
                  </a:moveTo>
                  <a:lnTo>
                    <a:pt x="316139" y="937846"/>
                  </a:lnTo>
                  <a:lnTo>
                    <a:pt x="0" y="0"/>
                  </a:lnTo>
                  <a:lnTo>
                    <a:pt x="200540" y="0"/>
                  </a:lnTo>
                  <a:lnTo>
                    <a:pt x="381610" y="561310"/>
                  </a:lnTo>
                  <a:cubicBezTo>
                    <a:pt x="399701" y="623818"/>
                    <a:pt x="422003" y="704416"/>
                    <a:pt x="437299" y="769719"/>
                  </a:cubicBezTo>
                  <a:lnTo>
                    <a:pt x="440075" y="769719"/>
                  </a:lnTo>
                  <a:cubicBezTo>
                    <a:pt x="455409" y="705786"/>
                    <a:pt x="476295" y="626613"/>
                    <a:pt x="497180" y="558544"/>
                  </a:cubicBezTo>
                  <a:lnTo>
                    <a:pt x="679629" y="0"/>
                  </a:lnTo>
                  <a:lnTo>
                    <a:pt x="866260" y="0"/>
                  </a:lnTo>
                  <a:lnTo>
                    <a:pt x="551501" y="937846"/>
                  </a:lnTo>
                  <a:close/>
                </a:path>
              </a:pathLst>
            </a:custGeom>
            <a:grpFill/>
            <a:ln w="93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A7C7BAF-9275-435B-89A2-F9D53A4BE48A}"/>
              </a:ext>
            </a:extLst>
          </p:cNvPr>
          <p:cNvGrpSpPr/>
          <p:nvPr userDrawn="1"/>
        </p:nvGrpSpPr>
        <p:grpSpPr>
          <a:xfrm>
            <a:off x="9999322" y="1"/>
            <a:ext cx="1787865" cy="666000"/>
            <a:chOff x="9999322" y="1"/>
            <a:chExt cx="1787865" cy="666000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DBF07612-51E1-419E-84CD-5E14274FBA41}"/>
                </a:ext>
              </a:extLst>
            </p:cNvPr>
            <p:cNvSpPr/>
            <p:nvPr userDrawn="1"/>
          </p:nvSpPr>
          <p:spPr>
            <a:xfrm>
              <a:off x="10091913" y="1"/>
              <a:ext cx="1695274" cy="666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/>
            </a:p>
          </p:txBody>
        </p:sp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CA3C4AFC-C4F3-49E9-A9A8-C4CAD8E4AF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1"/>
            <a:stretch>
              <a:fillRect/>
            </a:stretch>
          </p:blipFill>
          <p:spPr>
            <a:xfrm>
              <a:off x="9999322" y="82654"/>
              <a:ext cx="1766455" cy="543600"/>
            </a:xfrm>
            <a:prstGeom prst="rect">
              <a:avLst/>
            </a:prstGeom>
          </p:spPr>
        </p:pic>
      </p:grp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06399" y="678119"/>
            <a:ext cx="9280800" cy="384721"/>
          </a:xfrm>
          <a:prstGeom prst="rect">
            <a:avLst/>
          </a:prstGeom>
        </p:spPr>
        <p:txBody>
          <a:bodyPr vert="horz" lIns="0" tIns="0" rIns="0" bIns="45720" rtlCol="0" anchor="t" anchorCtr="0">
            <a:spAutoFit/>
          </a:bodyPr>
          <a:lstStyle/>
          <a:p>
            <a:r>
              <a:rPr lang="pl-PL" dirty="0" err="1"/>
              <a:t>Headline</a:t>
            </a:r>
            <a:endParaRPr lang="de-DE" dirty="0"/>
          </a:p>
        </p:txBody>
      </p:sp>
      <p:sp>
        <p:nvSpPr>
          <p:cNvPr id="10" name="MSIPCMContentMarking" descr="{&quot;HashCode&quot;:-54214931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F01C8925-6E93-42F2-AF60-081642F37BF2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8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72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34" r:id="rId2"/>
    <p:sldLayoutId id="2147483726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20" r:id="rId12"/>
    <p:sldLayoutId id="2147483704" r:id="rId13"/>
    <p:sldLayoutId id="2147483706" r:id="rId14"/>
    <p:sldLayoutId id="2147483748" r:id="rId15"/>
    <p:sldLayoutId id="2147483710" r:id="rId16"/>
    <p:sldLayoutId id="2147483746" r:id="rId17"/>
    <p:sldLayoutId id="2147483745" r:id="rId18"/>
    <p:sldLayoutId id="2147483749" r:id="rId19"/>
    <p:sldLayoutId id="2147483744" r:id="rId20"/>
    <p:sldLayoutId id="2147483743" r:id="rId21"/>
    <p:sldLayoutId id="2147483750" r:id="rId22"/>
    <p:sldLayoutId id="2147483727" r:id="rId23"/>
    <p:sldLayoutId id="2147483751" r:id="rId24"/>
    <p:sldLayoutId id="2147483728" r:id="rId25"/>
    <p:sldLayoutId id="2147483752" r:id="rId26"/>
    <p:sldLayoutId id="2147483753" r:id="rId27"/>
    <p:sldLayoutId id="2147483755" r:id="rId28"/>
    <p:sldLayoutId id="2147483729" r:id="rId29"/>
    <p:sldLayoutId id="2147483754" r:id="rId30"/>
    <p:sldLayoutId id="2147483730" r:id="rId31"/>
    <p:sldLayoutId id="2147483756" r:id="rId32"/>
    <p:sldLayoutId id="2147483757" r:id="rId33"/>
    <p:sldLayoutId id="2147483714" r:id="rId34"/>
    <p:sldLayoutId id="2147483758" r:id="rId35"/>
    <p:sldLayoutId id="2147483759" r:id="rId36"/>
    <p:sldLayoutId id="2147483760" r:id="rId37"/>
    <p:sldLayoutId id="2147483761" r:id="rId38"/>
    <p:sldLayoutId id="2147483762" r:id="rId39"/>
    <p:sldLayoutId id="2147483763" r:id="rId40"/>
    <p:sldLayoutId id="2147483764" r:id="rId41"/>
    <p:sldLayoutId id="2147483765" r:id="rId42"/>
    <p:sldLayoutId id="2147483766" r:id="rId43"/>
    <p:sldLayoutId id="2147483724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59991" indent="-179996" algn="l" defTabSz="914377" rtl="0" eaLnBrk="1" latinLnBrk="0" hangingPunct="1">
        <a:lnSpc>
          <a:spcPct val="110000"/>
        </a:lnSpc>
        <a:spcBef>
          <a:spcPts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3840">
          <p15:clr>
            <a:srgbClr val="F26B43"/>
          </p15:clr>
        </p15:guide>
        <p15:guide id="15" pos="7425">
          <p15:clr>
            <a:srgbClr val="F26B43"/>
          </p15:clr>
        </p15:guide>
        <p15:guide id="16" orient="horz" pos="4064">
          <p15:clr>
            <a:srgbClr val="F26B43"/>
          </p15:clr>
        </p15:guide>
        <p15:guide id="17" pos="255">
          <p15:clr>
            <a:srgbClr val="F26B43"/>
          </p15:clr>
        </p15:guide>
        <p15:guide id="18" orient="horz" pos="936">
          <p15:clr>
            <a:srgbClr val="F26B43"/>
          </p15:clr>
        </p15:guide>
        <p15:guide id="19" orient="horz" pos="770">
          <p15:clr>
            <a:srgbClr val="F26B43"/>
          </p15:clr>
        </p15:guide>
        <p15:guide id="20" orient="horz" pos="255">
          <p15:clr>
            <a:srgbClr val="F26B43"/>
          </p15:clr>
        </p15:guide>
        <p15:guide id="21" orient="horz" pos="4187">
          <p15:clr>
            <a:srgbClr val="F26B43"/>
          </p15:clr>
        </p15:guide>
        <p15:guide id="22" orient="horz" pos="42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hyperlink" Target="https://teamworks.vw.vwg/sites/personalv2/ausbildung/_layouts/15/start.aspx#/Lists/Einsatzplanung/Nach%20Zeitraum.aspx" TargetMode="Externa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415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Alle wichtigen Informationen, z.B. Dein Ausbildungs- und Studienguide, Termine der Lernzielkontrollen, den Stundenzettel finden Sie auf dem Teams Kanal Azubi/Studenten Austausch: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de-DE" sz="12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https://teams.microsoft.com/l/team/19%3a9_gOb-LPQ49c2Rq3GPJawDV7_VN7c89TUp_n5EYnp9Y1%40thread.tacv2/conversations?groupId=6f3e7d4b-f39d-4968-aea3-25349abf1ae0&amp;tenantId=2882be50-2012-4d88-ac86-544124e120c8</a:t>
            </a: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200" u="none" strike="noStrike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 </a:t>
            </a: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</a:rPr>
              <a:t>In Ihrer Einsatzplanung können Sie regelmäßig einsehen, in welchem Fachbereich Sie eingesetzt sind und was als nächstes geplant ist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2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DengXian" panose="02010600030101010101" pitchFamily="2" charset="-122"/>
                <a:cs typeface="Arial" panose="020B0604020202020204" pitchFamily="34" charset="0"/>
                <a:hlinkClick r:id="rId6"/>
              </a:rPr>
              <a:t>https://teamworks.vw.vwg/sites/personalv2/ausbildung/_layouts/15/start.aspx#/Lists/Einsatzplanung/Nach%20Zeitraum.aspx</a:t>
            </a:r>
            <a:endParaRPr lang="de-DE" sz="12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193D4F-5C9A-4A36-90F0-75E9519AC870}" type="datetime1">
              <a:rPr lang="de-DE" smtClean="0"/>
              <a:t>22.07.2022</a:t>
            </a:fld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ctr">
              <a:lnSpc>
                <a:spcPct val="110000"/>
              </a:lnSpc>
              <a:spcAft>
                <a:spcPts val="451"/>
              </a:spcAft>
            </a:pPr>
            <a:r>
              <a:rPr lang="de-DE"/>
              <a:t>A-GKST  |  KSU-Klasse: 0.2 – 4 Jahre </a:t>
            </a:r>
            <a:endParaRPr lang="de-DE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ams Kanal, Einsatzplanung </a:t>
            </a:r>
          </a:p>
        </p:txBody>
      </p:sp>
    </p:spTree>
    <p:extLst>
      <p:ext uri="{BB962C8B-B14F-4D97-AF65-F5344CB8AC3E}">
        <p14:creationId xmlns:p14="http://schemas.microsoft.com/office/powerpoint/2010/main" val="225067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tMnjwJ3pAdpUcAVxAO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WAG_Master_16x9">
  <a:themeElements>
    <a:clrScheme name="Volkswagen AG">
      <a:dk1>
        <a:sysClr val="windowText" lastClr="000000"/>
      </a:dk1>
      <a:lt1>
        <a:sysClr val="window" lastClr="FFFFFF"/>
      </a:lt1>
      <a:dk2>
        <a:srgbClr val="4C5356"/>
      </a:dk2>
      <a:lt2>
        <a:srgbClr val="FFFFFF"/>
      </a:lt2>
      <a:accent1>
        <a:srgbClr val="4C5356"/>
      </a:accent1>
      <a:accent2>
        <a:srgbClr val="C6DFE7"/>
      </a:accent2>
      <a:accent3>
        <a:srgbClr val="006384"/>
      </a:accent3>
      <a:accent4>
        <a:srgbClr val="80B0C8"/>
      </a:accent4>
      <a:accent5>
        <a:srgbClr val="004666"/>
      </a:accent5>
      <a:accent6>
        <a:srgbClr val="A8ADB3"/>
      </a:accent6>
      <a:hlink>
        <a:srgbClr val="5F1939"/>
      </a:hlink>
      <a:folHlink>
        <a:srgbClr val="80B0C8"/>
      </a:folHlink>
    </a:clrScheme>
    <a:fontScheme name="Volkswagen Group Services">
      <a:majorFont>
        <a:latin typeface="VWAG TheSans"/>
        <a:ea typeface=""/>
        <a:cs typeface=""/>
      </a:majorFont>
      <a:minorFont>
        <a:latin typeface="VWAG The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450"/>
          </a:spcAft>
          <a:defRPr sz="1400" dirty="0" err="1" smtClean="0"/>
        </a:defPPr>
      </a:lstStyle>
    </a:txDef>
  </a:objectDefaults>
  <a:extraClrSchemeLst/>
  <a:custClrLst>
    <a:custClr name="VWAGSilberHell">
      <a:srgbClr val="D4D6D9"/>
    </a:custClr>
    <a:custClr name="PowerpointBlau">
      <a:srgbClr val="003366"/>
    </a:custClr>
    <a:custClr name="VWAGDunkelrot">
      <a:srgbClr val="5F1939"/>
    </a:custClr>
    <a:custClr name="VWAGRot">
      <a:srgbClr val="A21E4D"/>
    </a:custClr>
    <a:custClr name="VWAGOrange">
      <a:srgbClr val="D8AA00"/>
    </a:custClr>
    <a:custClr name="VWAGSand">
      <a:srgbClr val="F6E5BC"/>
    </a:custClr>
    <a:custClr name="VWAGGruen">
      <a:srgbClr val="95A844"/>
    </a:custClr>
    <a:custClr name="VWAGHellgruen">
      <a:srgbClr val="C2CCA6"/>
    </a:custClr>
    <a:custClr name="leer">
      <a:srgbClr val="FFFFFF"/>
    </a:custClr>
    <a:custClr name="leer">
      <a:srgbClr val="FFFFFF"/>
    </a:custClr>
    <a:custClr name="AmpelfarbeRot">
      <a:srgbClr val="DA0C1F"/>
    </a:custClr>
    <a:custClr name="AmpelfarbeGelb">
      <a:srgbClr val="FCCD22"/>
    </a:custClr>
    <a:custClr name="AmpelfarbeGruen">
      <a:srgbClr val="64A844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Template VWGS.pptx  -  Schreibgeschützt" id="{97E2AD93-4D49-4E03-83E9-F0D6A315EB93}" vid="{5FCF007F-8CF1-4929-A9C4-B0BF0737AEF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7C6C90B-2593-C24F-BAA4-0B8B60F982AE}">
  <we:reference id="wa104381335" version="1.0.0.1" store="en-US" storeType="OMEX"/>
  <we:alternateReferences>
    <we:reference id="wa104381335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fc59f7a-37a9-489d-9c43-9cc60545c307">
      <Value>7</Value>
    </TaxCatchAll>
    <RevIMDocumentOwner xmlns="dfc59f7a-37a9-489d-9c43-9cc60545c307">
      <UserInfo>
        <DisplayName/>
        <AccountId xsi:nil="true"/>
        <AccountType/>
      </UserInfo>
    </RevIMDocumentOwner>
    <i0f84bba906045b4af568ee102a52dcb xmlns="dfc59f7a-37a9-489d-9c43-9cc60545c307">
      <Terms xmlns="http://schemas.microsoft.com/office/infopath/2007/PartnerControls">
        <TermInfo xmlns="http://schemas.microsoft.com/office/infopath/2007/PartnerControls">
          <TermName xmlns="http://schemas.microsoft.com/office/infopath/2007/PartnerControls">10.1 Langfr. Personalunterlagen</TermName>
          <TermId xmlns="http://schemas.microsoft.com/office/infopath/2007/PartnerControls">b08d2dd9-dca0-46d6-9f78-da3ed92e22b8</TermId>
        </TermInfo>
      </Terms>
    </i0f84bba906045b4af568ee102a52dcb>
    <RevIMEventDate xmlns="dfc59f7a-37a9-489d-9c43-9cc60545c307" xsi:nil="true"/>
    <RevIMComments xmlns="dfc59f7a-37a9-489d-9c43-9cc60545c307" xsi:nil="true"/>
    <RevIMDeletionDate xmlns="dfc59f7a-37a9-489d-9c43-9cc60545c307">2150-03-17T12:13:43+00:00</RevIMDeletionDate>
    <RevIMExtends xmlns="dfc59f7a-37a9-489d-9c43-9cc60545c307">{"KSUClass":"b08d2dd9-dca0-46d6-9f78-da3ed92e22b8","Reclassified":"2023-04-28T07:34:27.858Z","ReclassifiedBy":"marie.hartmann@volkswagen-groupservices.com"}</RevIMExtends>
    <p27e2d46ba66445785b95d2ee753c8d8 xmlns="dfc59f7a-37a9-489d-9c43-9cc60545c307">
      <Terms xmlns="http://schemas.microsoft.com/office/infopath/2007/PartnerControls"/>
    </p27e2d46ba66445785b95d2ee753c8d8>
    <lcf76f155ced4ddcb4097134ff3c332f xmlns="363f774c-69d5-4a75-a662-6105bd951a0d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C4B2A571F0B54F8D2301D444E7FD64" ma:contentTypeVersion="15" ma:contentTypeDescription="Create a new document." ma:contentTypeScope="" ma:versionID="f3cd1785d21d909952a134ea151d7d1d">
  <xsd:schema xmlns:xsd="http://www.w3.org/2001/XMLSchema" xmlns:xs="http://www.w3.org/2001/XMLSchema" xmlns:p="http://schemas.microsoft.com/office/2006/metadata/properties" xmlns:ns2="363f774c-69d5-4a75-a662-6105bd951a0d" xmlns:ns3="dfc59f7a-37a9-489d-9c43-9cc60545c307" targetNamespace="http://schemas.microsoft.com/office/2006/metadata/properties" ma:root="true" ma:fieldsID="eef31f94189f062432b9b0201a3f1d5a" ns2:_="" ns3:_="">
    <xsd:import namespace="363f774c-69d5-4a75-a662-6105bd951a0d"/>
    <xsd:import namespace="dfc59f7a-37a9-489d-9c43-9cc60545c3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p27e2d46ba66445785b95d2ee753c8d8" minOccurs="0"/>
                <xsd:element ref="ns3:TaxCatchAll" minOccurs="0"/>
                <xsd:element ref="ns3:TaxCatchAllLabel" minOccurs="0"/>
                <xsd:element ref="ns3:i0f84bba906045b4af568ee102a52dcb" minOccurs="0"/>
                <xsd:element ref="ns3:RevIMDeletionDate" minOccurs="0"/>
                <xsd:element ref="ns3:RevIMEventDate" minOccurs="0"/>
                <xsd:element ref="ns3:RevIMComments" minOccurs="0"/>
                <xsd:element ref="ns3:RevIMDocumentOwner" minOccurs="0"/>
                <xsd:element ref="ns3:RevIMExtend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f774c-69d5-4a75-a662-6105bd951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6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c59f7a-37a9-489d-9c43-9cc60545c307" elementFormDefault="qualified">
    <xsd:import namespace="http://schemas.microsoft.com/office/2006/documentManagement/types"/>
    <xsd:import namespace="http://schemas.microsoft.com/office/infopath/2007/PartnerControls"/>
    <xsd:element name="p27e2d46ba66445785b95d2ee753c8d8" ma:index="10" nillable="true" ma:taxonomy="true" ma:internalName="p27e2d46ba66445785b95d2ee753c8d8" ma:taxonomyFieldName="LegalHoldTag" ma:displayName="LegalHold" ma:fieldId="{927e2d46-ba66-4457-85b9-5d2ee753c8d8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1" nillable="true" ma:displayName="Taxonomy Catch All Column" ma:hidden="true" ma:list="{8a6a9f91-6fb2-4337-95eb-b23bf5b41784}" ma:internalName="TaxCatchAll" ma:showField="CatchAllData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8a6a9f91-6fb2-4337-95eb-b23bf5b41784}" ma:internalName="TaxCatchAllLabel" ma:readOnly="true" ma:showField="CatchAllDataLabel" ma:web="dfc59f7a-37a9-489d-9c43-9cc60545c3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5" nillable="true" ma:taxonomy="true" ma:internalName="i0f84bba906045b4af568ee102a52dcb" ma:taxonomyFieldName="RevIMBCS" ma:displayName="CSD Class" ma:readOnly="true" ma:default="1;#0.1 Initial category|0239cc7a-0c96-48a8-9e0e-a383e362571c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6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7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8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9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20" nillable="true" ma:displayName="RevIMExtends" ma:hidden="true" ma:internalName="RevIMExtend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4F3165-A204-43BB-B91D-D7FC82F02CD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6BF8FA2-DA35-4B7D-B8A0-1669E07BF73F}">
  <ds:schemaRefs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850b38d6-bd3e-452a-bfa5-ae28b2f3931f"/>
    <ds:schemaRef ds:uri="http://schemas.microsoft.com/office/2006/documentManagement/types"/>
    <ds:schemaRef ds:uri="a7192356-cb70-4a7b-a6d7-5b696f62eca6"/>
    <ds:schemaRef ds:uri="http://schemas.microsoft.com/office/2006/metadata/properties"/>
    <ds:schemaRef ds:uri="http://www.w3.org/XML/1998/namespace"/>
    <ds:schemaRef ds:uri="3c885244-b6dd-4b82-b45d-dc03263880bd"/>
  </ds:schemaRefs>
</ds:datastoreItem>
</file>

<file path=customXml/itemProps3.xml><?xml version="1.0" encoding="utf-8"?>
<ds:datastoreItem xmlns:ds="http://schemas.openxmlformats.org/officeDocument/2006/customXml" ds:itemID="{01FAC859-D01A-420F-9F02-87F02E10F9E7}"/>
</file>

<file path=docProps/app.xml><?xml version="1.0" encoding="utf-8"?>
<Properties xmlns="http://schemas.openxmlformats.org/officeDocument/2006/extended-properties" xmlns:vt="http://schemas.openxmlformats.org/officeDocument/2006/docPropsVTypes">
  <Template>Template VWGS</Template>
  <TotalTime>0</TotalTime>
  <Words>128</Words>
  <Application>Microsoft Office PowerPoint</Application>
  <PresentationFormat>Breitbild</PresentationFormat>
  <Paragraphs>9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Symbol</vt:lpstr>
      <vt:lpstr>VW Head ExtraBold</vt:lpstr>
      <vt:lpstr>VWAG TheSans</vt:lpstr>
      <vt:lpstr>VWAG TheSans Light</vt:lpstr>
      <vt:lpstr>VWAG_Master_16x9</vt:lpstr>
      <vt:lpstr>think-cell Slide</vt:lpstr>
      <vt:lpstr>Teams Kanal, Einsatzplanung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s Kanal, Einsatzplanung </dc:title>
  <dc:creator>Wagner, Sabine (A-GSZB)</dc:creator>
  <cp:lastModifiedBy>Wagner, Sabine (A-GSZB)</cp:lastModifiedBy>
  <cp:revision>2</cp:revision>
  <dcterms:created xsi:type="dcterms:W3CDTF">2022-07-22T10:39:02Z</dcterms:created>
  <dcterms:modified xsi:type="dcterms:W3CDTF">2022-07-22T11:16:34Z</dcterms:modified>
  <cp:category>0.1 Initialklass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C4B2A571F0B54F8D2301D444E7FD64</vt:lpwstr>
  </property>
  <property fmtid="{D5CDD505-2E9C-101B-9397-08002B2CF9AE}" pid="3" name="RevIMBCS">
    <vt:lpwstr>7;#10.1 Langfr. Personalunterlagen|b08d2dd9-dca0-46d6-9f78-da3ed92e22b8</vt:lpwstr>
  </property>
  <property fmtid="{D5CDD505-2E9C-101B-9397-08002B2CF9AE}" pid="4" name="LegalHoldTag">
    <vt:lpwstr/>
  </property>
  <property fmtid="{D5CDD505-2E9C-101B-9397-08002B2CF9AE}" pid="5" name="TriggerFlowInfo">
    <vt:lpwstr/>
  </property>
  <property fmtid="{D5CDD505-2E9C-101B-9397-08002B2CF9AE}" pid="6" name="MSIP_Label_b1c9b508-7c6e-42bd-bedf-808292653d6c_Enabled">
    <vt:lpwstr>true</vt:lpwstr>
  </property>
  <property fmtid="{D5CDD505-2E9C-101B-9397-08002B2CF9AE}" pid="7" name="MSIP_Label_b1c9b508-7c6e-42bd-bedf-808292653d6c_SetDate">
    <vt:lpwstr>2022-07-22T11:16:34Z</vt:lpwstr>
  </property>
  <property fmtid="{D5CDD505-2E9C-101B-9397-08002B2CF9AE}" pid="8" name="MSIP_Label_b1c9b508-7c6e-42bd-bedf-808292653d6c_Method">
    <vt:lpwstr>Privileged</vt:lpwstr>
  </property>
  <property fmtid="{D5CDD505-2E9C-101B-9397-08002B2CF9AE}" pid="9" name="MSIP_Label_b1c9b508-7c6e-42bd-bedf-808292653d6c_Name">
    <vt:lpwstr>b1c9b508-7c6e-42bd-bedf-808292653d6c</vt:lpwstr>
  </property>
  <property fmtid="{D5CDD505-2E9C-101B-9397-08002B2CF9AE}" pid="10" name="MSIP_Label_b1c9b508-7c6e-42bd-bedf-808292653d6c_SiteId">
    <vt:lpwstr>2882be50-2012-4d88-ac86-544124e120c8</vt:lpwstr>
  </property>
  <property fmtid="{D5CDD505-2E9C-101B-9397-08002B2CF9AE}" pid="11" name="MSIP_Label_b1c9b508-7c6e-42bd-bedf-808292653d6c_ActionId">
    <vt:lpwstr>1461a10f-d70c-4836-9327-7086203e5993</vt:lpwstr>
  </property>
  <property fmtid="{D5CDD505-2E9C-101B-9397-08002B2CF9AE}" pid="12" name="MSIP_Label_b1c9b508-7c6e-42bd-bedf-808292653d6c_ContentBits">
    <vt:lpwstr>3</vt:lpwstr>
  </property>
  <property fmtid="{D5CDD505-2E9C-101B-9397-08002B2CF9AE}" pid="13" name="MediaServiceImageTags">
    <vt:lpwstr/>
  </property>
</Properties>
</file>